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Relationship Id="rId4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374" r:id="rId5"/>
    <p:sldId id="341" r:id="rId6"/>
    <p:sldId id="424" r:id="rId7"/>
    <p:sldId id="425" r:id="rId8"/>
    <p:sldId id="444" r:id="rId9"/>
    <p:sldId id="445" r:id="rId10"/>
    <p:sldId id="447" r:id="rId11"/>
    <p:sldId id="426" r:id="rId12"/>
    <p:sldId id="446" r:id="rId13"/>
    <p:sldId id="448" r:id="rId14"/>
    <p:sldId id="449" r:id="rId15"/>
    <p:sldId id="450" r:id="rId16"/>
    <p:sldId id="452" r:id="rId17"/>
    <p:sldId id="455" r:id="rId18"/>
    <p:sldId id="456" r:id="rId19"/>
    <p:sldId id="457" r:id="rId20"/>
    <p:sldId id="458" r:id="rId21"/>
    <p:sldId id="459" r:id="rId22"/>
    <p:sldId id="435" r:id="rId23"/>
    <p:sldId id="451" r:id="rId24"/>
    <p:sldId id="460" r:id="rId25"/>
    <p:sldId id="461" r:id="rId26"/>
    <p:sldId id="462" r:id="rId27"/>
    <p:sldId id="464" r:id="rId28"/>
    <p:sldId id="465" r:id="rId29"/>
    <p:sldId id="466" r:id="rId30"/>
    <p:sldId id="467" r:id="rId31"/>
    <p:sldId id="468" r:id="rId32"/>
    <p:sldId id="469" r:id="rId33"/>
    <p:sldId id="470" r:id="rId34"/>
    <p:sldId id="471" r:id="rId35"/>
    <p:sldId id="474" r:id="rId36"/>
    <p:sldId id="472" r:id="rId37"/>
    <p:sldId id="443" r:id="rId38"/>
  </p:sldIdLst>
  <p:sldSz cx="12192000" cy="6858000"/>
  <p:notesSz cx="6858000" cy="91440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B9D5031-EDAE-47E8-BFE7-9C354D70745D}">
          <p14:sldIdLst/>
        </p14:section>
        <p14:section name="Title Slides" id="{9B562A97-D7B0-49D4-AD7D-575183D3E757}">
          <p14:sldIdLst>
            <p14:sldId id="374"/>
          </p14:sldIdLst>
        </p14:section>
        <p14:section name="Section Title Slides" id="{04F24238-D37B-45FB-ADD1-E44A5585ED2C}">
          <p14:sldIdLst/>
        </p14:section>
        <p14:section name="Template Slides" id="{B4999F17-38C8-4A1C-BEDB-2CA6374DCDA5}">
          <p14:sldIdLst>
            <p14:sldId id="341"/>
            <p14:sldId id="424"/>
            <p14:sldId id="425"/>
            <p14:sldId id="444"/>
            <p14:sldId id="445"/>
            <p14:sldId id="447"/>
            <p14:sldId id="426"/>
            <p14:sldId id="446"/>
            <p14:sldId id="448"/>
            <p14:sldId id="449"/>
            <p14:sldId id="450"/>
            <p14:sldId id="452"/>
            <p14:sldId id="455"/>
            <p14:sldId id="456"/>
            <p14:sldId id="457"/>
            <p14:sldId id="458"/>
            <p14:sldId id="459"/>
            <p14:sldId id="435"/>
            <p14:sldId id="451"/>
            <p14:sldId id="460"/>
            <p14:sldId id="461"/>
            <p14:sldId id="462"/>
            <p14:sldId id="464"/>
            <p14:sldId id="465"/>
            <p14:sldId id="466"/>
            <p14:sldId id="467"/>
            <p14:sldId id="468"/>
            <p14:sldId id="469"/>
            <p14:sldId id="470"/>
            <p14:sldId id="471"/>
            <p14:sldId id="474"/>
            <p14:sldId id="472"/>
            <p14:sldId id="443"/>
          </p14:sldIdLst>
        </p14:section>
        <p14:section name="Large Text Slides" id="{92777B31-82F5-4542-BF3A-45247569562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chpande, Sunil (IE03x)" initials="PS(" lastIdx="1" clrIdx="0">
    <p:extLst>
      <p:ext uri="{19B8F6BF-5375-455C-9EA6-DF929625EA0E}">
        <p15:presenceInfo xmlns:p15="http://schemas.microsoft.com/office/powerpoint/2012/main" userId="S-1-5-21-1244467668-1331586020-26564730-490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7520" autoAdjust="0"/>
  </p:normalViewPr>
  <p:slideViewPr>
    <p:cSldViewPr snapToGrid="0" snapToObjects="1" showGuides="1">
      <p:cViewPr>
        <p:scale>
          <a:sx n="70" d="100"/>
          <a:sy n="70" d="100"/>
        </p:scale>
        <p:origin x="460" y="-4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 /><Relationship Id="rId13" Type="http://schemas.openxmlformats.org/officeDocument/2006/relationships/slide" Target="slides/slide9.xml" /><Relationship Id="rId18" Type="http://schemas.openxmlformats.org/officeDocument/2006/relationships/slide" Target="slides/slide14.xml" /><Relationship Id="rId26" Type="http://schemas.openxmlformats.org/officeDocument/2006/relationships/slide" Target="slides/slide22.xml" /><Relationship Id="rId39" Type="http://schemas.openxmlformats.org/officeDocument/2006/relationships/notesMaster" Target="notesMasters/notesMaster1.xml" /><Relationship Id="rId3" Type="http://schemas.openxmlformats.org/officeDocument/2006/relationships/customXml" Target="../customXml/item3.xml" /><Relationship Id="rId21" Type="http://schemas.openxmlformats.org/officeDocument/2006/relationships/slide" Target="slides/slide17.xml" /><Relationship Id="rId34" Type="http://schemas.openxmlformats.org/officeDocument/2006/relationships/slide" Target="slides/slide30.xml" /><Relationship Id="rId42" Type="http://schemas.openxmlformats.org/officeDocument/2006/relationships/commentAuthors" Target="commentAuthors.xml" /><Relationship Id="rId7" Type="http://schemas.openxmlformats.org/officeDocument/2006/relationships/slide" Target="slides/slide3.xml" /><Relationship Id="rId12" Type="http://schemas.openxmlformats.org/officeDocument/2006/relationships/slide" Target="slides/slide8.xml" /><Relationship Id="rId17" Type="http://schemas.openxmlformats.org/officeDocument/2006/relationships/slide" Target="slides/slide13.xml" /><Relationship Id="rId25" Type="http://schemas.openxmlformats.org/officeDocument/2006/relationships/slide" Target="slides/slide21.xml" /><Relationship Id="rId33" Type="http://schemas.openxmlformats.org/officeDocument/2006/relationships/slide" Target="slides/slide29.xml" /><Relationship Id="rId38" Type="http://schemas.openxmlformats.org/officeDocument/2006/relationships/slide" Target="slides/slide34.xml" /><Relationship Id="rId46" Type="http://schemas.openxmlformats.org/officeDocument/2006/relationships/tableStyles" Target="tableStyles.xml" /><Relationship Id="rId2" Type="http://schemas.openxmlformats.org/officeDocument/2006/relationships/customXml" Target="../customXml/item2.xml" /><Relationship Id="rId16" Type="http://schemas.openxmlformats.org/officeDocument/2006/relationships/slide" Target="slides/slide12.xml" /><Relationship Id="rId20" Type="http://schemas.openxmlformats.org/officeDocument/2006/relationships/slide" Target="slides/slide16.xml" /><Relationship Id="rId29" Type="http://schemas.openxmlformats.org/officeDocument/2006/relationships/slide" Target="slides/slide25.xml" /><Relationship Id="rId41" Type="http://schemas.openxmlformats.org/officeDocument/2006/relationships/tags" Target="tags/tag1.xml" /><Relationship Id="rId1" Type="http://schemas.openxmlformats.org/officeDocument/2006/relationships/customXml" Target="../customXml/item1.xml" /><Relationship Id="rId6" Type="http://schemas.openxmlformats.org/officeDocument/2006/relationships/slide" Target="slides/slide2.xml" /><Relationship Id="rId11" Type="http://schemas.openxmlformats.org/officeDocument/2006/relationships/slide" Target="slides/slide7.xml" /><Relationship Id="rId24" Type="http://schemas.openxmlformats.org/officeDocument/2006/relationships/slide" Target="slides/slide20.xml" /><Relationship Id="rId32" Type="http://schemas.openxmlformats.org/officeDocument/2006/relationships/slide" Target="slides/slide28.xml" /><Relationship Id="rId37" Type="http://schemas.openxmlformats.org/officeDocument/2006/relationships/slide" Target="slides/slide33.xml" /><Relationship Id="rId40" Type="http://schemas.openxmlformats.org/officeDocument/2006/relationships/handoutMaster" Target="handoutMasters/handoutMaster1.xml" /><Relationship Id="rId45" Type="http://schemas.openxmlformats.org/officeDocument/2006/relationships/theme" Target="theme/theme1.xml" /><Relationship Id="rId5" Type="http://schemas.openxmlformats.org/officeDocument/2006/relationships/slide" Target="slides/slide1.xml" /><Relationship Id="rId15" Type="http://schemas.openxmlformats.org/officeDocument/2006/relationships/slide" Target="slides/slide11.xml" /><Relationship Id="rId23" Type="http://schemas.openxmlformats.org/officeDocument/2006/relationships/slide" Target="slides/slide19.xml" /><Relationship Id="rId28" Type="http://schemas.openxmlformats.org/officeDocument/2006/relationships/slide" Target="slides/slide24.xml" /><Relationship Id="rId36" Type="http://schemas.openxmlformats.org/officeDocument/2006/relationships/slide" Target="slides/slide32.xml" /><Relationship Id="rId10" Type="http://schemas.openxmlformats.org/officeDocument/2006/relationships/slide" Target="slides/slide6.xml" /><Relationship Id="rId19" Type="http://schemas.openxmlformats.org/officeDocument/2006/relationships/slide" Target="slides/slide15.xml" /><Relationship Id="rId31" Type="http://schemas.openxmlformats.org/officeDocument/2006/relationships/slide" Target="slides/slide27.xml" /><Relationship Id="rId44" Type="http://schemas.openxmlformats.org/officeDocument/2006/relationships/viewProps" Target="viewProps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5.xml" /><Relationship Id="rId14" Type="http://schemas.openxmlformats.org/officeDocument/2006/relationships/slide" Target="slides/slide10.xml" /><Relationship Id="rId22" Type="http://schemas.openxmlformats.org/officeDocument/2006/relationships/slide" Target="slides/slide18.xml" /><Relationship Id="rId27" Type="http://schemas.openxmlformats.org/officeDocument/2006/relationships/slide" Target="slides/slide23.xml" /><Relationship Id="rId30" Type="http://schemas.openxmlformats.org/officeDocument/2006/relationships/slide" Target="slides/slide26.xml" /><Relationship Id="rId35" Type="http://schemas.openxmlformats.org/officeDocument/2006/relationships/slide" Target="slides/slide31.xml" /><Relationship Id="rId43" Type="http://schemas.openxmlformats.org/officeDocument/2006/relationships/presProps" Target="presProps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E17E74-AB73-4FF6-96EB-ECD69BAFB0AE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426DD9E0-6389-47A7-B650-8F2FD5BA7058}">
      <dgm:prSet phldrT="[Text]"/>
      <dgm:spPr/>
      <dgm:t>
        <a:bodyPr/>
        <a:lstStyle/>
        <a:p>
          <a:r>
            <a:rPr lang="en-US" dirty="0"/>
            <a:t>Writing the Individual &amp; Overall SSD Flag</a:t>
          </a:r>
        </a:p>
      </dgm:t>
    </dgm:pt>
    <dgm:pt modelId="{913363C1-0F45-49FF-AC9B-D043F4E628AB}" type="parTrans" cxnId="{5D9928E8-EF1A-4FC1-BAB8-C9ACE1A987D5}">
      <dgm:prSet/>
      <dgm:spPr/>
      <dgm:t>
        <a:bodyPr/>
        <a:lstStyle/>
        <a:p>
          <a:endParaRPr lang="en-US"/>
        </a:p>
      </dgm:t>
    </dgm:pt>
    <dgm:pt modelId="{909A35AA-F309-43C4-8777-8C6063609F20}" type="sibTrans" cxnId="{5D9928E8-EF1A-4FC1-BAB8-C9ACE1A987D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FFC000"/>
        </a:solidFill>
        <a:ln>
          <a:noFill/>
        </a:ln>
      </dgm:spPr>
      <dgm:t>
        <a:bodyPr spcFirstLastPara="0" vert="horz" wrap="square" lIns="0" tIns="0" rIns="0" bIns="0" numCol="1" spcCol="1270" rtlCol="0" anchor="ctr" anchorCtr="0"/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EC64E76F-1B14-4CA3-9F7E-D64D3C2A2BB9}">
      <dgm:prSet phldrT="[Text]"/>
      <dgm:spPr/>
      <dgm:t>
        <a:bodyPr/>
        <a:lstStyle/>
        <a:p>
          <a:r>
            <a:rPr lang="en-US" dirty="0"/>
            <a:t>Overall SSD Flag as MR Code Trigger Switch</a:t>
          </a:r>
        </a:p>
      </dgm:t>
    </dgm:pt>
    <dgm:pt modelId="{730EC631-8946-40C5-8120-8BEDE12C1DD2}" type="parTrans" cxnId="{F46A6166-5240-4B9B-AC50-2C4A18BDCB9C}">
      <dgm:prSet/>
      <dgm:spPr/>
      <dgm:t>
        <a:bodyPr/>
        <a:lstStyle/>
        <a:p>
          <a:endParaRPr lang="en-US"/>
        </a:p>
      </dgm:t>
    </dgm:pt>
    <dgm:pt modelId="{539A4158-EE58-48A0-89E0-F3ABA761B80F}" type="sibTrans" cxnId="{F46A6166-5240-4B9B-AC50-2C4A18BDCB9C}">
      <dgm:prSet/>
      <dgm:spPr/>
      <dgm:t>
        <a:bodyPr/>
        <a:lstStyle/>
        <a:p>
          <a:endParaRPr lang="en-US"/>
        </a:p>
      </dgm:t>
    </dgm:pt>
    <dgm:pt modelId="{E0D1117E-5171-4D46-9BF3-7B7A17CD7F3E}">
      <dgm:prSet phldrT="[Text]"/>
      <dgm:spPr/>
      <dgm:t>
        <a:bodyPr/>
        <a:lstStyle/>
        <a:p>
          <a:r>
            <a:rPr lang="en-US" dirty="0"/>
            <a:t>Run SSD Code</a:t>
          </a:r>
        </a:p>
      </dgm:t>
    </dgm:pt>
    <dgm:pt modelId="{42BDEEB1-6987-4523-A6D3-E7FCDC38AA8F}" type="parTrans" cxnId="{C1256445-70A3-4FC2-9035-850F8F765E60}">
      <dgm:prSet/>
      <dgm:spPr/>
      <dgm:t>
        <a:bodyPr/>
        <a:lstStyle/>
        <a:p>
          <a:endParaRPr lang="en-US"/>
        </a:p>
      </dgm:t>
    </dgm:pt>
    <dgm:pt modelId="{0FDEB8B6-424A-4F56-A9F2-1FB04FE003DF}" type="sibTrans" cxnId="{C1256445-70A3-4FC2-9035-850F8F765E60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05C26653-AB16-4D94-A300-EC11FEAD09DF}">
      <dgm:prSet phldrT="[Text]"/>
      <dgm:spPr/>
      <dgm:t>
        <a:bodyPr/>
        <a:lstStyle/>
        <a:p>
          <a:r>
            <a:rPr lang="en-US" dirty="0"/>
            <a:t>Generating the Output -SSD </a:t>
          </a:r>
          <a:r>
            <a:rPr lang="en-US" dirty="0" err="1"/>
            <a:t>FlagS</a:t>
          </a:r>
          <a:endParaRPr lang="en-US" dirty="0"/>
        </a:p>
      </dgm:t>
    </dgm:pt>
    <dgm:pt modelId="{94B92D5C-7866-4CB6-8830-8E08B94071DF}" type="parTrans" cxnId="{CBB5D434-FF77-47EF-BFF4-10D21217EF13}">
      <dgm:prSet/>
      <dgm:spPr/>
      <dgm:t>
        <a:bodyPr/>
        <a:lstStyle/>
        <a:p>
          <a:endParaRPr lang="en-US"/>
        </a:p>
      </dgm:t>
    </dgm:pt>
    <dgm:pt modelId="{51532342-96B4-4F56-B84C-5F0060E9D564}" type="sibTrans" cxnId="{CBB5D434-FF77-47EF-BFF4-10D21217EF13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994F901-A4F4-4BF3-8DB0-416205603C46}">
      <dgm:prSet phldrT="[Text]"/>
      <dgm:spPr/>
      <dgm:t>
        <a:bodyPr/>
        <a:lstStyle/>
        <a:p>
          <a:r>
            <a:rPr lang="en-US" dirty="0"/>
            <a:t>Fetching of the Values of SSD Tags from e-PHD</a:t>
          </a:r>
        </a:p>
      </dgm:t>
    </dgm:pt>
    <dgm:pt modelId="{9C24EB96-B23E-4980-8FAC-AA74AE769802}" type="sibTrans" cxnId="{8B635680-1054-4386-8F4B-65F2962ABB55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BC4D776D-F347-4414-B1F4-AF346A48F72B}" type="parTrans" cxnId="{8B635680-1054-4386-8F4B-65F2962ABB55}">
      <dgm:prSet/>
      <dgm:spPr/>
      <dgm:t>
        <a:bodyPr/>
        <a:lstStyle/>
        <a:p>
          <a:endParaRPr lang="en-US"/>
        </a:p>
      </dgm:t>
    </dgm:pt>
    <dgm:pt modelId="{03471681-4279-4C09-BB75-0742797532E7}">
      <dgm:prSet phldrT="[Text]"/>
      <dgm:spPr/>
      <dgm:t>
        <a:bodyPr/>
        <a:lstStyle/>
        <a:p>
          <a:r>
            <a:rPr lang="en-US" dirty="0"/>
            <a:t>Scheduling of the SSD Algorithm-Windows Scheduler</a:t>
          </a:r>
        </a:p>
      </dgm:t>
    </dgm:pt>
    <dgm:pt modelId="{91C8FF75-150B-47C3-9247-0842596A896B}" type="sibTrans" cxnId="{9E7035BD-F30D-44CF-894B-7FAF5E2C6675}">
      <dgm:prSet/>
      <dgm:spPr>
        <a:solidFill>
          <a:srgbClr val="404040"/>
        </a:solidFill>
      </dgm:spPr>
      <dgm:t>
        <a:bodyPr/>
        <a:lstStyle/>
        <a:p>
          <a:endParaRPr lang="en-US"/>
        </a:p>
      </dgm:t>
    </dgm:pt>
    <dgm:pt modelId="{534A9F47-5BED-425E-80B1-9F636B80D88B}" type="parTrans" cxnId="{9E7035BD-F30D-44CF-894B-7FAF5E2C6675}">
      <dgm:prSet/>
      <dgm:spPr/>
      <dgm:t>
        <a:bodyPr/>
        <a:lstStyle/>
        <a:p>
          <a:endParaRPr lang="en-US"/>
        </a:p>
      </dgm:t>
    </dgm:pt>
    <dgm:pt modelId="{3EA5C518-11EB-4D2C-8092-312B08A8547B}" type="pres">
      <dgm:prSet presAssocID="{66E17E74-AB73-4FF6-96EB-ECD69BAFB0AE}" presName="Name0" presStyleCnt="0">
        <dgm:presLayoutVars>
          <dgm:dir/>
          <dgm:resizeHandles val="exact"/>
        </dgm:presLayoutVars>
      </dgm:prSet>
      <dgm:spPr/>
    </dgm:pt>
    <dgm:pt modelId="{8749287A-CC6E-487C-B3BE-534EE328D5F1}" type="pres">
      <dgm:prSet presAssocID="{03471681-4279-4C09-BB75-0742797532E7}" presName="node" presStyleLbl="node1" presStyleIdx="0" presStyleCnt="6">
        <dgm:presLayoutVars>
          <dgm:bulletEnabled val="1"/>
        </dgm:presLayoutVars>
      </dgm:prSet>
      <dgm:spPr/>
    </dgm:pt>
    <dgm:pt modelId="{41B46D50-E655-4EE4-A14C-4B50AB9E230A}" type="pres">
      <dgm:prSet presAssocID="{91C8FF75-150B-47C3-9247-0842596A896B}" presName="sibTrans" presStyleLbl="sibTrans2D1" presStyleIdx="0" presStyleCnt="5" custScaleX="184656"/>
      <dgm:spPr/>
    </dgm:pt>
    <dgm:pt modelId="{3FF98395-AFEC-48B3-BB6C-A4AC5C1D730C}" type="pres">
      <dgm:prSet presAssocID="{91C8FF75-150B-47C3-9247-0842596A896B}" presName="connectorText" presStyleLbl="sibTrans2D1" presStyleIdx="0" presStyleCnt="5"/>
      <dgm:spPr/>
    </dgm:pt>
    <dgm:pt modelId="{816EB92E-FBC1-4097-8DCC-B2FE6ED0186C}" type="pres">
      <dgm:prSet presAssocID="{3994F901-A4F4-4BF3-8DB0-416205603C46}" presName="node" presStyleLbl="node1" presStyleIdx="1" presStyleCnt="6">
        <dgm:presLayoutVars>
          <dgm:bulletEnabled val="1"/>
        </dgm:presLayoutVars>
      </dgm:prSet>
      <dgm:spPr/>
    </dgm:pt>
    <dgm:pt modelId="{5D611C59-4288-402C-8A6B-543EC43B3EEA}" type="pres">
      <dgm:prSet presAssocID="{9C24EB96-B23E-4980-8FAC-AA74AE769802}" presName="sibTrans" presStyleLbl="sibTrans2D1" presStyleIdx="1" presStyleCnt="5" custScaleX="209129"/>
      <dgm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D0880986-A72C-4885-AFCC-2F80D9B62971}" type="pres">
      <dgm:prSet presAssocID="{9C24EB96-B23E-4980-8FAC-AA74AE769802}" presName="connectorText" presStyleLbl="sibTrans2D1" presStyleIdx="1" presStyleCnt="5"/>
      <dgm:spPr/>
    </dgm:pt>
    <dgm:pt modelId="{9CFD9C3C-606A-4AA9-98A4-2C10BD98187F}" type="pres">
      <dgm:prSet presAssocID="{E0D1117E-5171-4D46-9BF3-7B7A17CD7F3E}" presName="node" presStyleLbl="node1" presStyleIdx="2" presStyleCnt="6">
        <dgm:presLayoutVars>
          <dgm:bulletEnabled val="1"/>
        </dgm:presLayoutVars>
      </dgm:prSet>
      <dgm:spPr/>
    </dgm:pt>
    <dgm:pt modelId="{9416B4E1-33DB-41D7-9C8D-1CB8E1CCF416}" type="pres">
      <dgm:prSet presAssocID="{0FDEB8B6-424A-4F56-A9F2-1FB04FE003DF}" presName="sibTrans" presStyleLbl="sibTrans2D1" presStyleIdx="2" presStyleCnt="5" custScaleX="201604"/>
      <dgm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82BAE45F-4E69-456E-995A-E241F5DF51B6}" type="pres">
      <dgm:prSet presAssocID="{0FDEB8B6-424A-4F56-A9F2-1FB04FE003DF}" presName="connectorText" presStyleLbl="sibTrans2D1" presStyleIdx="2" presStyleCnt="5"/>
      <dgm:spPr/>
    </dgm:pt>
    <dgm:pt modelId="{E4B3985F-FB8F-4469-97B0-1F82E177C1C9}" type="pres">
      <dgm:prSet presAssocID="{05C26653-AB16-4D94-A300-EC11FEAD09DF}" presName="node" presStyleLbl="node1" presStyleIdx="3" presStyleCnt="6">
        <dgm:presLayoutVars>
          <dgm:bulletEnabled val="1"/>
        </dgm:presLayoutVars>
      </dgm:prSet>
      <dgm:spPr/>
    </dgm:pt>
    <dgm:pt modelId="{EA63E36F-0D92-4502-A0A6-2F2CBE3D1AB2}" type="pres">
      <dgm:prSet presAssocID="{51532342-96B4-4F56-B84C-5F0060E9D564}" presName="sibTrans" presStyleLbl="sibTrans2D1" presStyleIdx="3" presStyleCnt="5" custScaleX="177123"/>
      <dgm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367A7C23-8979-4D66-80EE-4A61DB17FE0E}" type="pres">
      <dgm:prSet presAssocID="{51532342-96B4-4F56-B84C-5F0060E9D564}" presName="connectorText" presStyleLbl="sibTrans2D1" presStyleIdx="3" presStyleCnt="5"/>
      <dgm:spPr/>
    </dgm:pt>
    <dgm:pt modelId="{8ED338A9-C971-4263-AE8E-5F1450503848}" type="pres">
      <dgm:prSet presAssocID="{426DD9E0-6389-47A7-B650-8F2FD5BA7058}" presName="node" presStyleLbl="node1" presStyleIdx="4" presStyleCnt="6">
        <dgm:presLayoutVars>
          <dgm:bulletEnabled val="1"/>
        </dgm:presLayoutVars>
      </dgm:prSet>
      <dgm:spPr/>
    </dgm:pt>
    <dgm:pt modelId="{D040C85B-E296-4E29-9F2B-99DCF11F0937}" type="pres">
      <dgm:prSet presAssocID="{909A35AA-F309-43C4-8777-8C6063609F20}" presName="sibTrans" presStyleLbl="sibTrans2D1" presStyleIdx="4" presStyleCnt="5" custScaleX="203512"/>
      <dgm:spPr>
        <a:xfrm>
          <a:off x="9227541" y="1975059"/>
          <a:ext cx="604099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067DEAD1-77CE-4FF3-B4F9-39FCBDEE25E1}" type="pres">
      <dgm:prSet presAssocID="{909A35AA-F309-43C4-8777-8C6063609F20}" presName="connectorText" presStyleLbl="sibTrans2D1" presStyleIdx="4" presStyleCnt="5"/>
      <dgm:spPr/>
    </dgm:pt>
    <dgm:pt modelId="{07AE541E-C2AA-40A3-84B5-09BFD090D7BF}" type="pres">
      <dgm:prSet presAssocID="{EC64E76F-1B14-4CA3-9F7E-D64D3C2A2BB9}" presName="node" presStyleLbl="node1" presStyleIdx="5" presStyleCnt="6">
        <dgm:presLayoutVars>
          <dgm:bulletEnabled val="1"/>
        </dgm:presLayoutVars>
      </dgm:prSet>
      <dgm:spPr/>
    </dgm:pt>
  </dgm:ptLst>
  <dgm:cxnLst>
    <dgm:cxn modelId="{A4EE7F23-891A-45D7-B3FE-FB1DFCB570FC}" type="presOf" srcId="{51532342-96B4-4F56-B84C-5F0060E9D564}" destId="{367A7C23-8979-4D66-80EE-4A61DB17FE0E}" srcOrd="1" destOrd="0" presId="urn:microsoft.com/office/officeart/2005/8/layout/process1"/>
    <dgm:cxn modelId="{1C6E6F24-4967-4B2E-A220-DA4B02C8C352}" type="presOf" srcId="{0FDEB8B6-424A-4F56-A9F2-1FB04FE003DF}" destId="{82BAE45F-4E69-456E-995A-E241F5DF51B6}" srcOrd="1" destOrd="0" presId="urn:microsoft.com/office/officeart/2005/8/layout/process1"/>
    <dgm:cxn modelId="{F61FFC27-A021-4522-A13C-EE51EDF84E00}" type="presOf" srcId="{909A35AA-F309-43C4-8777-8C6063609F20}" destId="{067DEAD1-77CE-4FF3-B4F9-39FCBDEE25E1}" srcOrd="1" destOrd="0" presId="urn:microsoft.com/office/officeart/2005/8/layout/process1"/>
    <dgm:cxn modelId="{CBB5D434-FF77-47EF-BFF4-10D21217EF13}" srcId="{66E17E74-AB73-4FF6-96EB-ECD69BAFB0AE}" destId="{05C26653-AB16-4D94-A300-EC11FEAD09DF}" srcOrd="3" destOrd="0" parTransId="{94B92D5C-7866-4CB6-8830-8E08B94071DF}" sibTransId="{51532342-96B4-4F56-B84C-5F0060E9D564}"/>
    <dgm:cxn modelId="{B9239A3F-4E73-4BA3-B015-0543FE748B8C}" type="presOf" srcId="{9C24EB96-B23E-4980-8FAC-AA74AE769802}" destId="{D0880986-A72C-4885-AFCC-2F80D9B62971}" srcOrd="1" destOrd="0" presId="urn:microsoft.com/office/officeart/2005/8/layout/process1"/>
    <dgm:cxn modelId="{1C16A144-DA8A-4E49-A177-91FF647E2998}" type="presOf" srcId="{66E17E74-AB73-4FF6-96EB-ECD69BAFB0AE}" destId="{3EA5C518-11EB-4D2C-8092-312B08A8547B}" srcOrd="0" destOrd="0" presId="urn:microsoft.com/office/officeart/2005/8/layout/process1"/>
    <dgm:cxn modelId="{C1256445-70A3-4FC2-9035-850F8F765E60}" srcId="{66E17E74-AB73-4FF6-96EB-ECD69BAFB0AE}" destId="{E0D1117E-5171-4D46-9BF3-7B7A17CD7F3E}" srcOrd="2" destOrd="0" parTransId="{42BDEEB1-6987-4523-A6D3-E7FCDC38AA8F}" sibTransId="{0FDEB8B6-424A-4F56-A9F2-1FB04FE003DF}"/>
    <dgm:cxn modelId="{F46A6166-5240-4B9B-AC50-2C4A18BDCB9C}" srcId="{66E17E74-AB73-4FF6-96EB-ECD69BAFB0AE}" destId="{EC64E76F-1B14-4CA3-9F7E-D64D3C2A2BB9}" srcOrd="5" destOrd="0" parTransId="{730EC631-8946-40C5-8120-8BEDE12C1DD2}" sibTransId="{539A4158-EE58-48A0-89E0-F3ABA761B80F}"/>
    <dgm:cxn modelId="{CEC38A68-7431-4875-82E9-0009F7302641}" type="presOf" srcId="{909A35AA-F309-43C4-8777-8C6063609F20}" destId="{D040C85B-E296-4E29-9F2B-99DCF11F0937}" srcOrd="0" destOrd="0" presId="urn:microsoft.com/office/officeart/2005/8/layout/process1"/>
    <dgm:cxn modelId="{8F9EB14C-895F-423E-8D63-5E72C1CFF517}" type="presOf" srcId="{0FDEB8B6-424A-4F56-A9F2-1FB04FE003DF}" destId="{9416B4E1-33DB-41D7-9C8D-1CB8E1CCF416}" srcOrd="0" destOrd="0" presId="urn:microsoft.com/office/officeart/2005/8/layout/process1"/>
    <dgm:cxn modelId="{8B635680-1054-4386-8F4B-65F2962ABB55}" srcId="{66E17E74-AB73-4FF6-96EB-ECD69BAFB0AE}" destId="{3994F901-A4F4-4BF3-8DB0-416205603C46}" srcOrd="1" destOrd="0" parTransId="{BC4D776D-F347-4414-B1F4-AF346A48F72B}" sibTransId="{9C24EB96-B23E-4980-8FAC-AA74AE769802}"/>
    <dgm:cxn modelId="{347AD388-26C1-4CAA-9B39-99C4E9E2B236}" type="presOf" srcId="{EC64E76F-1B14-4CA3-9F7E-D64D3C2A2BB9}" destId="{07AE541E-C2AA-40A3-84B5-09BFD090D7BF}" srcOrd="0" destOrd="0" presId="urn:microsoft.com/office/officeart/2005/8/layout/process1"/>
    <dgm:cxn modelId="{DA42A8A2-2010-498D-8344-A419FF36D9D9}" type="presOf" srcId="{426DD9E0-6389-47A7-B650-8F2FD5BA7058}" destId="{8ED338A9-C971-4263-AE8E-5F1450503848}" srcOrd="0" destOrd="0" presId="urn:microsoft.com/office/officeart/2005/8/layout/process1"/>
    <dgm:cxn modelId="{E12AA9B1-62D5-4876-9203-58BE012B5040}" type="presOf" srcId="{03471681-4279-4C09-BB75-0742797532E7}" destId="{8749287A-CC6E-487C-B3BE-534EE328D5F1}" srcOrd="0" destOrd="0" presId="urn:microsoft.com/office/officeart/2005/8/layout/process1"/>
    <dgm:cxn modelId="{86DE3BB3-3E0A-4306-B1E8-2D449ABFCD7A}" type="presOf" srcId="{9C24EB96-B23E-4980-8FAC-AA74AE769802}" destId="{5D611C59-4288-402C-8A6B-543EC43B3EEA}" srcOrd="0" destOrd="0" presId="urn:microsoft.com/office/officeart/2005/8/layout/process1"/>
    <dgm:cxn modelId="{9E7035BD-F30D-44CF-894B-7FAF5E2C6675}" srcId="{66E17E74-AB73-4FF6-96EB-ECD69BAFB0AE}" destId="{03471681-4279-4C09-BB75-0742797532E7}" srcOrd="0" destOrd="0" parTransId="{534A9F47-5BED-425E-80B1-9F636B80D88B}" sibTransId="{91C8FF75-150B-47C3-9247-0842596A896B}"/>
    <dgm:cxn modelId="{9DD21CCB-4BE8-4914-BCF4-450AE5F18B57}" type="presOf" srcId="{51532342-96B4-4F56-B84C-5F0060E9D564}" destId="{EA63E36F-0D92-4502-A0A6-2F2CBE3D1AB2}" srcOrd="0" destOrd="0" presId="urn:microsoft.com/office/officeart/2005/8/layout/process1"/>
    <dgm:cxn modelId="{79A12AE2-EC76-43F0-B440-F79D2A169FB4}" type="presOf" srcId="{91C8FF75-150B-47C3-9247-0842596A896B}" destId="{3FF98395-AFEC-48B3-BB6C-A4AC5C1D730C}" srcOrd="1" destOrd="0" presId="urn:microsoft.com/office/officeart/2005/8/layout/process1"/>
    <dgm:cxn modelId="{856DBBE4-A507-4390-9858-41C370EB8DFE}" type="presOf" srcId="{05C26653-AB16-4D94-A300-EC11FEAD09DF}" destId="{E4B3985F-FB8F-4469-97B0-1F82E177C1C9}" srcOrd="0" destOrd="0" presId="urn:microsoft.com/office/officeart/2005/8/layout/process1"/>
    <dgm:cxn modelId="{5D9928E8-EF1A-4FC1-BAB8-C9ACE1A987D5}" srcId="{66E17E74-AB73-4FF6-96EB-ECD69BAFB0AE}" destId="{426DD9E0-6389-47A7-B650-8F2FD5BA7058}" srcOrd="4" destOrd="0" parTransId="{913363C1-0F45-49FF-AC9B-D043F4E628AB}" sibTransId="{909A35AA-F309-43C4-8777-8C6063609F20}"/>
    <dgm:cxn modelId="{6EE766F0-3586-44BE-AF09-291E22F43266}" type="presOf" srcId="{91C8FF75-150B-47C3-9247-0842596A896B}" destId="{41B46D50-E655-4EE4-A14C-4B50AB9E230A}" srcOrd="0" destOrd="0" presId="urn:microsoft.com/office/officeart/2005/8/layout/process1"/>
    <dgm:cxn modelId="{082919F2-2214-4F6F-A1BB-654CD5F52D3B}" type="presOf" srcId="{E0D1117E-5171-4D46-9BF3-7B7A17CD7F3E}" destId="{9CFD9C3C-606A-4AA9-98A4-2C10BD98187F}" srcOrd="0" destOrd="0" presId="urn:microsoft.com/office/officeart/2005/8/layout/process1"/>
    <dgm:cxn modelId="{602004FA-7166-4069-9466-35BB3F452DB8}" type="presOf" srcId="{3994F901-A4F4-4BF3-8DB0-416205603C46}" destId="{816EB92E-FBC1-4097-8DCC-B2FE6ED0186C}" srcOrd="0" destOrd="0" presId="urn:microsoft.com/office/officeart/2005/8/layout/process1"/>
    <dgm:cxn modelId="{77968500-8587-4773-BA0D-61967BA5B046}" type="presParOf" srcId="{3EA5C518-11EB-4D2C-8092-312B08A8547B}" destId="{8749287A-CC6E-487C-B3BE-534EE328D5F1}" srcOrd="0" destOrd="0" presId="urn:microsoft.com/office/officeart/2005/8/layout/process1"/>
    <dgm:cxn modelId="{28839EE9-63A8-4AFA-80D6-B9FDA54C8A66}" type="presParOf" srcId="{3EA5C518-11EB-4D2C-8092-312B08A8547B}" destId="{41B46D50-E655-4EE4-A14C-4B50AB9E230A}" srcOrd="1" destOrd="0" presId="urn:microsoft.com/office/officeart/2005/8/layout/process1"/>
    <dgm:cxn modelId="{4422C2D8-3337-4F9A-BCC9-A8A2B9CFB9E4}" type="presParOf" srcId="{41B46D50-E655-4EE4-A14C-4B50AB9E230A}" destId="{3FF98395-AFEC-48B3-BB6C-A4AC5C1D730C}" srcOrd="0" destOrd="0" presId="urn:microsoft.com/office/officeart/2005/8/layout/process1"/>
    <dgm:cxn modelId="{31FE913A-BD68-4339-BF0C-B0D348FD104A}" type="presParOf" srcId="{3EA5C518-11EB-4D2C-8092-312B08A8547B}" destId="{816EB92E-FBC1-4097-8DCC-B2FE6ED0186C}" srcOrd="2" destOrd="0" presId="urn:microsoft.com/office/officeart/2005/8/layout/process1"/>
    <dgm:cxn modelId="{1F82DE9B-869F-4E93-8EFC-23E214836F26}" type="presParOf" srcId="{3EA5C518-11EB-4D2C-8092-312B08A8547B}" destId="{5D611C59-4288-402C-8A6B-543EC43B3EEA}" srcOrd="3" destOrd="0" presId="urn:microsoft.com/office/officeart/2005/8/layout/process1"/>
    <dgm:cxn modelId="{225DC84B-DD70-4F5B-9A10-7F55169A1684}" type="presParOf" srcId="{5D611C59-4288-402C-8A6B-543EC43B3EEA}" destId="{D0880986-A72C-4885-AFCC-2F80D9B62971}" srcOrd="0" destOrd="0" presId="urn:microsoft.com/office/officeart/2005/8/layout/process1"/>
    <dgm:cxn modelId="{A68F8530-A744-47AC-A98A-E0BFCC074888}" type="presParOf" srcId="{3EA5C518-11EB-4D2C-8092-312B08A8547B}" destId="{9CFD9C3C-606A-4AA9-98A4-2C10BD98187F}" srcOrd="4" destOrd="0" presId="urn:microsoft.com/office/officeart/2005/8/layout/process1"/>
    <dgm:cxn modelId="{AE43E79B-7B2A-4C67-B3CC-FB972C4FF72F}" type="presParOf" srcId="{3EA5C518-11EB-4D2C-8092-312B08A8547B}" destId="{9416B4E1-33DB-41D7-9C8D-1CB8E1CCF416}" srcOrd="5" destOrd="0" presId="urn:microsoft.com/office/officeart/2005/8/layout/process1"/>
    <dgm:cxn modelId="{D12981B3-9046-4E1A-A959-DDE1D133EB04}" type="presParOf" srcId="{9416B4E1-33DB-41D7-9C8D-1CB8E1CCF416}" destId="{82BAE45F-4E69-456E-995A-E241F5DF51B6}" srcOrd="0" destOrd="0" presId="urn:microsoft.com/office/officeart/2005/8/layout/process1"/>
    <dgm:cxn modelId="{35F2CAB8-B7FA-47E3-9699-09B84D5046FA}" type="presParOf" srcId="{3EA5C518-11EB-4D2C-8092-312B08A8547B}" destId="{E4B3985F-FB8F-4469-97B0-1F82E177C1C9}" srcOrd="6" destOrd="0" presId="urn:microsoft.com/office/officeart/2005/8/layout/process1"/>
    <dgm:cxn modelId="{C01C2814-47CA-46ED-8FBE-F7240B8F258E}" type="presParOf" srcId="{3EA5C518-11EB-4D2C-8092-312B08A8547B}" destId="{EA63E36F-0D92-4502-A0A6-2F2CBE3D1AB2}" srcOrd="7" destOrd="0" presId="urn:microsoft.com/office/officeart/2005/8/layout/process1"/>
    <dgm:cxn modelId="{8A113D38-3A12-45B6-BA48-A4BBEC06F2C7}" type="presParOf" srcId="{EA63E36F-0D92-4502-A0A6-2F2CBE3D1AB2}" destId="{367A7C23-8979-4D66-80EE-4A61DB17FE0E}" srcOrd="0" destOrd="0" presId="urn:microsoft.com/office/officeart/2005/8/layout/process1"/>
    <dgm:cxn modelId="{65E4D6C5-95BD-4709-81B7-9062FC5D9C63}" type="presParOf" srcId="{3EA5C518-11EB-4D2C-8092-312B08A8547B}" destId="{8ED338A9-C971-4263-AE8E-5F1450503848}" srcOrd="8" destOrd="0" presId="urn:microsoft.com/office/officeart/2005/8/layout/process1"/>
    <dgm:cxn modelId="{B99FF21A-A3C8-406A-A816-1FE6789F6796}" type="presParOf" srcId="{3EA5C518-11EB-4D2C-8092-312B08A8547B}" destId="{D040C85B-E296-4E29-9F2B-99DCF11F0937}" srcOrd="9" destOrd="0" presId="urn:microsoft.com/office/officeart/2005/8/layout/process1"/>
    <dgm:cxn modelId="{94437C36-266C-4F5A-AD13-EFD5BF8CADB8}" type="presParOf" srcId="{D040C85B-E296-4E29-9F2B-99DCF11F0937}" destId="{067DEAD1-77CE-4FF3-B4F9-39FCBDEE25E1}" srcOrd="0" destOrd="0" presId="urn:microsoft.com/office/officeart/2005/8/layout/process1"/>
    <dgm:cxn modelId="{E92AE864-7E95-4EBE-BFA5-85EE8C151171}" type="presParOf" srcId="{3EA5C518-11EB-4D2C-8092-312B08A8547B}" destId="{07AE541E-C2AA-40A3-84B5-09BFD090D7BF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E17E74-AB73-4FF6-96EB-ECD69BAFB0AE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426DD9E0-6389-47A7-B650-8F2FD5BA7058}">
      <dgm:prSet phldrT="[Text]"/>
      <dgm:spPr/>
      <dgm:t>
        <a:bodyPr/>
        <a:lstStyle/>
        <a:p>
          <a:r>
            <a:rPr lang="en-US" dirty="0"/>
            <a:t>Writing GED &amp; Recon Values to </a:t>
          </a:r>
        </a:p>
        <a:p>
          <a:r>
            <a:rPr lang="en-US" dirty="0"/>
            <a:t>e-PHD</a:t>
          </a:r>
        </a:p>
      </dgm:t>
    </dgm:pt>
    <dgm:pt modelId="{913363C1-0F45-49FF-AC9B-D043F4E628AB}" type="parTrans" cxnId="{5D9928E8-EF1A-4FC1-BAB8-C9ACE1A987D5}">
      <dgm:prSet/>
      <dgm:spPr/>
      <dgm:t>
        <a:bodyPr/>
        <a:lstStyle/>
        <a:p>
          <a:endParaRPr lang="en-US"/>
        </a:p>
      </dgm:t>
    </dgm:pt>
    <dgm:pt modelId="{909A35AA-F309-43C4-8777-8C6063609F20}" type="sibTrans" cxnId="{5D9928E8-EF1A-4FC1-BAB8-C9ACE1A987D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FFC000"/>
        </a:solidFill>
        <a:ln>
          <a:noFill/>
        </a:ln>
      </dgm:spPr>
      <dgm:t>
        <a:bodyPr spcFirstLastPara="0" vert="horz" wrap="square" lIns="0" tIns="0" rIns="0" bIns="0" numCol="1" spcCol="1270" rtlCol="0" anchor="ctr" anchorCtr="0"/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E0D1117E-5171-4D46-9BF3-7B7A17CD7F3E}">
      <dgm:prSet phldrT="[Text]"/>
      <dgm:spPr/>
      <dgm:t>
        <a:bodyPr/>
        <a:lstStyle/>
        <a:p>
          <a:r>
            <a:rPr lang="en-US" dirty="0"/>
            <a:t>Run MR Code</a:t>
          </a:r>
        </a:p>
      </dgm:t>
    </dgm:pt>
    <dgm:pt modelId="{42BDEEB1-6987-4523-A6D3-E7FCDC38AA8F}" type="parTrans" cxnId="{C1256445-70A3-4FC2-9035-850F8F765E60}">
      <dgm:prSet/>
      <dgm:spPr/>
      <dgm:t>
        <a:bodyPr/>
        <a:lstStyle/>
        <a:p>
          <a:endParaRPr lang="en-US"/>
        </a:p>
      </dgm:t>
    </dgm:pt>
    <dgm:pt modelId="{0FDEB8B6-424A-4F56-A9F2-1FB04FE003DF}" type="sibTrans" cxnId="{C1256445-70A3-4FC2-9035-850F8F765E60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05C26653-AB16-4D94-A300-EC11FEAD09DF}">
      <dgm:prSet phldrT="[Text]"/>
      <dgm:spPr/>
      <dgm:t>
        <a:bodyPr/>
        <a:lstStyle/>
        <a:p>
          <a:r>
            <a:rPr lang="en-US" dirty="0"/>
            <a:t>Generating the Recon Output &amp; GED</a:t>
          </a:r>
        </a:p>
      </dgm:t>
    </dgm:pt>
    <dgm:pt modelId="{94B92D5C-7866-4CB6-8830-8E08B94071DF}" type="parTrans" cxnId="{CBB5D434-FF77-47EF-BFF4-10D21217EF13}">
      <dgm:prSet/>
      <dgm:spPr/>
      <dgm:t>
        <a:bodyPr/>
        <a:lstStyle/>
        <a:p>
          <a:endParaRPr lang="en-US"/>
        </a:p>
      </dgm:t>
    </dgm:pt>
    <dgm:pt modelId="{51532342-96B4-4F56-B84C-5F0060E9D564}" type="sibTrans" cxnId="{CBB5D434-FF77-47EF-BFF4-10D21217EF13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994F901-A4F4-4BF3-8DB0-416205603C46}">
      <dgm:prSet phldrT="[Text]"/>
      <dgm:spPr/>
      <dgm:t>
        <a:bodyPr/>
        <a:lstStyle/>
        <a:p>
          <a:r>
            <a:rPr lang="en-US" dirty="0"/>
            <a:t>Fetching of the STDEV &amp; AVG Values of MR Input Tags</a:t>
          </a:r>
        </a:p>
      </dgm:t>
    </dgm:pt>
    <dgm:pt modelId="{9C24EB96-B23E-4980-8FAC-AA74AE769802}" type="sibTrans" cxnId="{8B635680-1054-4386-8F4B-65F2962ABB55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BC4D776D-F347-4414-B1F4-AF346A48F72B}" type="parTrans" cxnId="{8B635680-1054-4386-8F4B-65F2962ABB55}">
      <dgm:prSet/>
      <dgm:spPr/>
      <dgm:t>
        <a:bodyPr/>
        <a:lstStyle/>
        <a:p>
          <a:endParaRPr lang="en-US"/>
        </a:p>
      </dgm:t>
    </dgm:pt>
    <dgm:pt modelId="{03471681-4279-4C09-BB75-0742797532E7}">
      <dgm:prSet phldrT="[Text]"/>
      <dgm:spPr/>
      <dgm:t>
        <a:bodyPr/>
        <a:lstStyle/>
        <a:p>
          <a:r>
            <a:rPr lang="en-US" dirty="0"/>
            <a:t>Scheduling of the MR Algorithm-Windows Scheduler</a:t>
          </a:r>
        </a:p>
      </dgm:t>
    </dgm:pt>
    <dgm:pt modelId="{91C8FF75-150B-47C3-9247-0842596A896B}" type="sibTrans" cxnId="{9E7035BD-F30D-44CF-894B-7FAF5E2C6675}">
      <dgm:prSet/>
      <dgm:spPr>
        <a:solidFill>
          <a:srgbClr val="404040"/>
        </a:solidFill>
      </dgm:spPr>
      <dgm:t>
        <a:bodyPr/>
        <a:lstStyle/>
        <a:p>
          <a:endParaRPr lang="en-US"/>
        </a:p>
      </dgm:t>
    </dgm:pt>
    <dgm:pt modelId="{534A9F47-5BED-425E-80B1-9F636B80D88B}" type="parTrans" cxnId="{9E7035BD-F30D-44CF-894B-7FAF5E2C6675}">
      <dgm:prSet/>
      <dgm:spPr/>
      <dgm:t>
        <a:bodyPr/>
        <a:lstStyle/>
        <a:p>
          <a:endParaRPr lang="en-US"/>
        </a:p>
      </dgm:t>
    </dgm:pt>
    <dgm:pt modelId="{2C5AFC55-7900-45B5-B3E4-B8DD101CB8F8}">
      <dgm:prSet phldrT="[Text]"/>
      <dgm:spPr/>
      <dgm:t>
        <a:bodyPr/>
        <a:lstStyle/>
        <a:p>
          <a:r>
            <a:rPr lang="en-US" dirty="0"/>
            <a:t>Pre-Condition Check</a:t>
          </a:r>
        </a:p>
      </dgm:t>
    </dgm:pt>
    <dgm:pt modelId="{716E7D5E-25DB-48DC-823F-DC72CDF52F1E}" type="parTrans" cxnId="{3AD713EE-3608-41A7-97EC-75ECBED30EFD}">
      <dgm:prSet/>
      <dgm:spPr/>
      <dgm:t>
        <a:bodyPr/>
        <a:lstStyle/>
        <a:p>
          <a:endParaRPr lang="en-US"/>
        </a:p>
      </dgm:t>
    </dgm:pt>
    <dgm:pt modelId="{70C83374-1D43-41D5-88D5-6CB648930CCC}" type="sibTrans" cxnId="{3AD713EE-3608-41A7-97EC-75ECBED30EFD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EA5C518-11EB-4D2C-8092-312B08A8547B}" type="pres">
      <dgm:prSet presAssocID="{66E17E74-AB73-4FF6-96EB-ECD69BAFB0AE}" presName="Name0" presStyleCnt="0">
        <dgm:presLayoutVars>
          <dgm:dir/>
          <dgm:resizeHandles val="exact"/>
        </dgm:presLayoutVars>
      </dgm:prSet>
      <dgm:spPr/>
    </dgm:pt>
    <dgm:pt modelId="{8749287A-CC6E-487C-B3BE-534EE328D5F1}" type="pres">
      <dgm:prSet presAssocID="{03471681-4279-4C09-BB75-0742797532E7}" presName="node" presStyleLbl="node1" presStyleIdx="0" presStyleCnt="6">
        <dgm:presLayoutVars>
          <dgm:bulletEnabled val="1"/>
        </dgm:presLayoutVars>
      </dgm:prSet>
      <dgm:spPr/>
    </dgm:pt>
    <dgm:pt modelId="{41B46D50-E655-4EE4-A14C-4B50AB9E230A}" type="pres">
      <dgm:prSet presAssocID="{91C8FF75-150B-47C3-9247-0842596A896B}" presName="sibTrans" presStyleLbl="sibTrans2D1" presStyleIdx="0" presStyleCnt="5" custScaleX="184656"/>
      <dgm:spPr/>
    </dgm:pt>
    <dgm:pt modelId="{3FF98395-AFEC-48B3-BB6C-A4AC5C1D730C}" type="pres">
      <dgm:prSet presAssocID="{91C8FF75-150B-47C3-9247-0842596A896B}" presName="connectorText" presStyleLbl="sibTrans2D1" presStyleIdx="0" presStyleCnt="5"/>
      <dgm:spPr/>
    </dgm:pt>
    <dgm:pt modelId="{ACC29031-835C-46D0-9B54-AF7B2A4DC865}" type="pres">
      <dgm:prSet presAssocID="{2C5AFC55-7900-45B5-B3E4-B8DD101CB8F8}" presName="node" presStyleLbl="node1" presStyleIdx="1" presStyleCnt="6">
        <dgm:presLayoutVars>
          <dgm:bulletEnabled val="1"/>
        </dgm:presLayoutVars>
      </dgm:prSet>
      <dgm:spPr/>
    </dgm:pt>
    <dgm:pt modelId="{FC6EDE1E-AD43-4079-8E30-5B7AA9770D1D}" type="pres">
      <dgm:prSet presAssocID="{70C83374-1D43-41D5-88D5-6CB648930CCC}" presName="sibTrans" presStyleLbl="sibTrans2D1" presStyleIdx="1" presStyleCnt="5" custScaleX="186504"/>
      <dgm:spPr>
        <a:xfrm>
          <a:off x="3523979" y="1974381"/>
          <a:ext cx="297996" cy="348599"/>
        </a:xfrm>
        <a:prstGeom prst="rightArrow">
          <a:avLst>
            <a:gd name="adj1" fmla="val 60000"/>
            <a:gd name="adj2" fmla="val 50000"/>
          </a:avLst>
        </a:prstGeom>
      </dgm:spPr>
    </dgm:pt>
    <dgm:pt modelId="{F00422B2-045A-4E20-B0E8-2DE5C3FE0481}" type="pres">
      <dgm:prSet presAssocID="{70C83374-1D43-41D5-88D5-6CB648930CCC}" presName="connectorText" presStyleLbl="sibTrans2D1" presStyleIdx="1" presStyleCnt="5"/>
      <dgm:spPr/>
    </dgm:pt>
    <dgm:pt modelId="{816EB92E-FBC1-4097-8DCC-B2FE6ED0186C}" type="pres">
      <dgm:prSet presAssocID="{3994F901-A4F4-4BF3-8DB0-416205603C46}" presName="node" presStyleLbl="node1" presStyleIdx="2" presStyleCnt="6" custScaleX="95483">
        <dgm:presLayoutVars>
          <dgm:bulletEnabled val="1"/>
        </dgm:presLayoutVars>
      </dgm:prSet>
      <dgm:spPr/>
    </dgm:pt>
    <dgm:pt modelId="{5D611C59-4288-402C-8A6B-543EC43B3EEA}" type="pres">
      <dgm:prSet presAssocID="{9C24EB96-B23E-4980-8FAC-AA74AE769802}" presName="sibTrans" presStyleLbl="sibTrans2D1" presStyleIdx="2" presStyleCnt="5" custScaleX="175171"/>
      <dgm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D0880986-A72C-4885-AFCC-2F80D9B62971}" type="pres">
      <dgm:prSet presAssocID="{9C24EB96-B23E-4980-8FAC-AA74AE769802}" presName="connectorText" presStyleLbl="sibTrans2D1" presStyleIdx="2" presStyleCnt="5"/>
      <dgm:spPr/>
    </dgm:pt>
    <dgm:pt modelId="{9CFD9C3C-606A-4AA9-98A4-2C10BD98187F}" type="pres">
      <dgm:prSet presAssocID="{E0D1117E-5171-4D46-9BF3-7B7A17CD7F3E}" presName="node" presStyleLbl="node1" presStyleIdx="3" presStyleCnt="6">
        <dgm:presLayoutVars>
          <dgm:bulletEnabled val="1"/>
        </dgm:presLayoutVars>
      </dgm:prSet>
      <dgm:spPr/>
    </dgm:pt>
    <dgm:pt modelId="{9416B4E1-33DB-41D7-9C8D-1CB8E1CCF416}" type="pres">
      <dgm:prSet presAssocID="{0FDEB8B6-424A-4F56-A9F2-1FB04FE003DF}" presName="sibTrans" presStyleLbl="sibTrans2D1" presStyleIdx="3" presStyleCnt="5" custScaleX="201604"/>
      <dgm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82BAE45F-4E69-456E-995A-E241F5DF51B6}" type="pres">
      <dgm:prSet presAssocID="{0FDEB8B6-424A-4F56-A9F2-1FB04FE003DF}" presName="connectorText" presStyleLbl="sibTrans2D1" presStyleIdx="3" presStyleCnt="5"/>
      <dgm:spPr/>
    </dgm:pt>
    <dgm:pt modelId="{E4B3985F-FB8F-4469-97B0-1F82E177C1C9}" type="pres">
      <dgm:prSet presAssocID="{05C26653-AB16-4D94-A300-EC11FEAD09DF}" presName="node" presStyleLbl="node1" presStyleIdx="4" presStyleCnt="6">
        <dgm:presLayoutVars>
          <dgm:bulletEnabled val="1"/>
        </dgm:presLayoutVars>
      </dgm:prSet>
      <dgm:spPr/>
    </dgm:pt>
    <dgm:pt modelId="{EA63E36F-0D92-4502-A0A6-2F2CBE3D1AB2}" type="pres">
      <dgm:prSet presAssocID="{51532342-96B4-4F56-B84C-5F0060E9D564}" presName="sibTrans" presStyleLbl="sibTrans2D1" presStyleIdx="4" presStyleCnt="5" custScaleX="177123"/>
      <dgm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367A7C23-8979-4D66-80EE-4A61DB17FE0E}" type="pres">
      <dgm:prSet presAssocID="{51532342-96B4-4F56-B84C-5F0060E9D564}" presName="connectorText" presStyleLbl="sibTrans2D1" presStyleIdx="4" presStyleCnt="5"/>
      <dgm:spPr/>
    </dgm:pt>
    <dgm:pt modelId="{8ED338A9-C971-4263-AE8E-5F1450503848}" type="pres">
      <dgm:prSet presAssocID="{426DD9E0-6389-47A7-B650-8F2FD5BA7058}" presName="node" presStyleLbl="node1" presStyleIdx="5" presStyleCnt="6">
        <dgm:presLayoutVars>
          <dgm:bulletEnabled val="1"/>
        </dgm:presLayoutVars>
      </dgm:prSet>
      <dgm:spPr/>
    </dgm:pt>
  </dgm:ptLst>
  <dgm:cxnLst>
    <dgm:cxn modelId="{A4EE7F23-891A-45D7-B3FE-FB1DFCB570FC}" type="presOf" srcId="{51532342-96B4-4F56-B84C-5F0060E9D564}" destId="{367A7C23-8979-4D66-80EE-4A61DB17FE0E}" srcOrd="1" destOrd="0" presId="urn:microsoft.com/office/officeart/2005/8/layout/process1"/>
    <dgm:cxn modelId="{1C6E6F24-4967-4B2E-A220-DA4B02C8C352}" type="presOf" srcId="{0FDEB8B6-424A-4F56-A9F2-1FB04FE003DF}" destId="{82BAE45F-4E69-456E-995A-E241F5DF51B6}" srcOrd="1" destOrd="0" presId="urn:microsoft.com/office/officeart/2005/8/layout/process1"/>
    <dgm:cxn modelId="{BF017B29-B4B6-4FCA-85C9-E564AF2FC93B}" type="presOf" srcId="{2C5AFC55-7900-45B5-B3E4-B8DD101CB8F8}" destId="{ACC29031-835C-46D0-9B54-AF7B2A4DC865}" srcOrd="0" destOrd="0" presId="urn:microsoft.com/office/officeart/2005/8/layout/process1"/>
    <dgm:cxn modelId="{CBB5D434-FF77-47EF-BFF4-10D21217EF13}" srcId="{66E17E74-AB73-4FF6-96EB-ECD69BAFB0AE}" destId="{05C26653-AB16-4D94-A300-EC11FEAD09DF}" srcOrd="4" destOrd="0" parTransId="{94B92D5C-7866-4CB6-8830-8E08B94071DF}" sibTransId="{51532342-96B4-4F56-B84C-5F0060E9D564}"/>
    <dgm:cxn modelId="{B9239A3F-4E73-4BA3-B015-0543FE748B8C}" type="presOf" srcId="{9C24EB96-B23E-4980-8FAC-AA74AE769802}" destId="{D0880986-A72C-4885-AFCC-2F80D9B62971}" srcOrd="1" destOrd="0" presId="urn:microsoft.com/office/officeart/2005/8/layout/process1"/>
    <dgm:cxn modelId="{1C16A144-DA8A-4E49-A177-91FF647E2998}" type="presOf" srcId="{66E17E74-AB73-4FF6-96EB-ECD69BAFB0AE}" destId="{3EA5C518-11EB-4D2C-8092-312B08A8547B}" srcOrd="0" destOrd="0" presId="urn:microsoft.com/office/officeart/2005/8/layout/process1"/>
    <dgm:cxn modelId="{C1256445-70A3-4FC2-9035-850F8F765E60}" srcId="{66E17E74-AB73-4FF6-96EB-ECD69BAFB0AE}" destId="{E0D1117E-5171-4D46-9BF3-7B7A17CD7F3E}" srcOrd="3" destOrd="0" parTransId="{42BDEEB1-6987-4523-A6D3-E7FCDC38AA8F}" sibTransId="{0FDEB8B6-424A-4F56-A9F2-1FB04FE003DF}"/>
    <dgm:cxn modelId="{8F9EB14C-895F-423E-8D63-5E72C1CFF517}" type="presOf" srcId="{0FDEB8B6-424A-4F56-A9F2-1FB04FE003DF}" destId="{9416B4E1-33DB-41D7-9C8D-1CB8E1CCF416}" srcOrd="0" destOrd="0" presId="urn:microsoft.com/office/officeart/2005/8/layout/process1"/>
    <dgm:cxn modelId="{8B635680-1054-4386-8F4B-65F2962ABB55}" srcId="{66E17E74-AB73-4FF6-96EB-ECD69BAFB0AE}" destId="{3994F901-A4F4-4BF3-8DB0-416205603C46}" srcOrd="2" destOrd="0" parTransId="{BC4D776D-F347-4414-B1F4-AF346A48F72B}" sibTransId="{9C24EB96-B23E-4980-8FAC-AA74AE769802}"/>
    <dgm:cxn modelId="{DA42A8A2-2010-498D-8344-A419FF36D9D9}" type="presOf" srcId="{426DD9E0-6389-47A7-B650-8F2FD5BA7058}" destId="{8ED338A9-C971-4263-AE8E-5F1450503848}" srcOrd="0" destOrd="0" presId="urn:microsoft.com/office/officeart/2005/8/layout/process1"/>
    <dgm:cxn modelId="{E12AA9B1-62D5-4876-9203-58BE012B5040}" type="presOf" srcId="{03471681-4279-4C09-BB75-0742797532E7}" destId="{8749287A-CC6E-487C-B3BE-534EE328D5F1}" srcOrd="0" destOrd="0" presId="urn:microsoft.com/office/officeart/2005/8/layout/process1"/>
    <dgm:cxn modelId="{86DE3BB3-3E0A-4306-B1E8-2D449ABFCD7A}" type="presOf" srcId="{9C24EB96-B23E-4980-8FAC-AA74AE769802}" destId="{5D611C59-4288-402C-8A6B-543EC43B3EEA}" srcOrd="0" destOrd="0" presId="urn:microsoft.com/office/officeart/2005/8/layout/process1"/>
    <dgm:cxn modelId="{9E7035BD-F30D-44CF-894B-7FAF5E2C6675}" srcId="{66E17E74-AB73-4FF6-96EB-ECD69BAFB0AE}" destId="{03471681-4279-4C09-BB75-0742797532E7}" srcOrd="0" destOrd="0" parTransId="{534A9F47-5BED-425E-80B1-9F636B80D88B}" sibTransId="{91C8FF75-150B-47C3-9247-0842596A896B}"/>
    <dgm:cxn modelId="{56D078C2-7FF9-4489-99A7-325DCF1E56C2}" type="presOf" srcId="{70C83374-1D43-41D5-88D5-6CB648930CCC}" destId="{FC6EDE1E-AD43-4079-8E30-5B7AA9770D1D}" srcOrd="0" destOrd="0" presId="urn:microsoft.com/office/officeart/2005/8/layout/process1"/>
    <dgm:cxn modelId="{B06BE5C4-4C00-45F4-AD21-33AB558D0ED4}" type="presOf" srcId="{70C83374-1D43-41D5-88D5-6CB648930CCC}" destId="{F00422B2-045A-4E20-B0E8-2DE5C3FE0481}" srcOrd="1" destOrd="0" presId="urn:microsoft.com/office/officeart/2005/8/layout/process1"/>
    <dgm:cxn modelId="{9DD21CCB-4BE8-4914-BCF4-450AE5F18B57}" type="presOf" srcId="{51532342-96B4-4F56-B84C-5F0060E9D564}" destId="{EA63E36F-0D92-4502-A0A6-2F2CBE3D1AB2}" srcOrd="0" destOrd="0" presId="urn:microsoft.com/office/officeart/2005/8/layout/process1"/>
    <dgm:cxn modelId="{79A12AE2-EC76-43F0-B440-F79D2A169FB4}" type="presOf" srcId="{91C8FF75-150B-47C3-9247-0842596A896B}" destId="{3FF98395-AFEC-48B3-BB6C-A4AC5C1D730C}" srcOrd="1" destOrd="0" presId="urn:microsoft.com/office/officeart/2005/8/layout/process1"/>
    <dgm:cxn modelId="{856DBBE4-A507-4390-9858-41C370EB8DFE}" type="presOf" srcId="{05C26653-AB16-4D94-A300-EC11FEAD09DF}" destId="{E4B3985F-FB8F-4469-97B0-1F82E177C1C9}" srcOrd="0" destOrd="0" presId="urn:microsoft.com/office/officeart/2005/8/layout/process1"/>
    <dgm:cxn modelId="{5D9928E8-EF1A-4FC1-BAB8-C9ACE1A987D5}" srcId="{66E17E74-AB73-4FF6-96EB-ECD69BAFB0AE}" destId="{426DD9E0-6389-47A7-B650-8F2FD5BA7058}" srcOrd="5" destOrd="0" parTransId="{913363C1-0F45-49FF-AC9B-D043F4E628AB}" sibTransId="{909A35AA-F309-43C4-8777-8C6063609F20}"/>
    <dgm:cxn modelId="{3AD713EE-3608-41A7-97EC-75ECBED30EFD}" srcId="{66E17E74-AB73-4FF6-96EB-ECD69BAFB0AE}" destId="{2C5AFC55-7900-45B5-B3E4-B8DD101CB8F8}" srcOrd="1" destOrd="0" parTransId="{716E7D5E-25DB-48DC-823F-DC72CDF52F1E}" sibTransId="{70C83374-1D43-41D5-88D5-6CB648930CCC}"/>
    <dgm:cxn modelId="{6EE766F0-3586-44BE-AF09-291E22F43266}" type="presOf" srcId="{91C8FF75-150B-47C3-9247-0842596A896B}" destId="{41B46D50-E655-4EE4-A14C-4B50AB9E230A}" srcOrd="0" destOrd="0" presId="urn:microsoft.com/office/officeart/2005/8/layout/process1"/>
    <dgm:cxn modelId="{082919F2-2214-4F6F-A1BB-654CD5F52D3B}" type="presOf" srcId="{E0D1117E-5171-4D46-9BF3-7B7A17CD7F3E}" destId="{9CFD9C3C-606A-4AA9-98A4-2C10BD98187F}" srcOrd="0" destOrd="0" presId="urn:microsoft.com/office/officeart/2005/8/layout/process1"/>
    <dgm:cxn modelId="{602004FA-7166-4069-9466-35BB3F452DB8}" type="presOf" srcId="{3994F901-A4F4-4BF3-8DB0-416205603C46}" destId="{816EB92E-FBC1-4097-8DCC-B2FE6ED0186C}" srcOrd="0" destOrd="0" presId="urn:microsoft.com/office/officeart/2005/8/layout/process1"/>
    <dgm:cxn modelId="{77968500-8587-4773-BA0D-61967BA5B046}" type="presParOf" srcId="{3EA5C518-11EB-4D2C-8092-312B08A8547B}" destId="{8749287A-CC6E-487C-B3BE-534EE328D5F1}" srcOrd="0" destOrd="0" presId="urn:microsoft.com/office/officeart/2005/8/layout/process1"/>
    <dgm:cxn modelId="{28839EE9-63A8-4AFA-80D6-B9FDA54C8A66}" type="presParOf" srcId="{3EA5C518-11EB-4D2C-8092-312B08A8547B}" destId="{41B46D50-E655-4EE4-A14C-4B50AB9E230A}" srcOrd="1" destOrd="0" presId="urn:microsoft.com/office/officeart/2005/8/layout/process1"/>
    <dgm:cxn modelId="{4422C2D8-3337-4F9A-BCC9-A8A2B9CFB9E4}" type="presParOf" srcId="{41B46D50-E655-4EE4-A14C-4B50AB9E230A}" destId="{3FF98395-AFEC-48B3-BB6C-A4AC5C1D730C}" srcOrd="0" destOrd="0" presId="urn:microsoft.com/office/officeart/2005/8/layout/process1"/>
    <dgm:cxn modelId="{2542EE4D-C828-4C53-A3F8-344DC32457E9}" type="presParOf" srcId="{3EA5C518-11EB-4D2C-8092-312B08A8547B}" destId="{ACC29031-835C-46D0-9B54-AF7B2A4DC865}" srcOrd="2" destOrd="0" presId="urn:microsoft.com/office/officeart/2005/8/layout/process1"/>
    <dgm:cxn modelId="{22B7AA54-D9C9-45E1-97CA-2837FC7155E4}" type="presParOf" srcId="{3EA5C518-11EB-4D2C-8092-312B08A8547B}" destId="{FC6EDE1E-AD43-4079-8E30-5B7AA9770D1D}" srcOrd="3" destOrd="0" presId="urn:microsoft.com/office/officeart/2005/8/layout/process1"/>
    <dgm:cxn modelId="{5450205B-9C13-4A41-A413-A8116C235E69}" type="presParOf" srcId="{FC6EDE1E-AD43-4079-8E30-5B7AA9770D1D}" destId="{F00422B2-045A-4E20-B0E8-2DE5C3FE0481}" srcOrd="0" destOrd="0" presId="urn:microsoft.com/office/officeart/2005/8/layout/process1"/>
    <dgm:cxn modelId="{31FE913A-BD68-4339-BF0C-B0D348FD104A}" type="presParOf" srcId="{3EA5C518-11EB-4D2C-8092-312B08A8547B}" destId="{816EB92E-FBC1-4097-8DCC-B2FE6ED0186C}" srcOrd="4" destOrd="0" presId="urn:microsoft.com/office/officeart/2005/8/layout/process1"/>
    <dgm:cxn modelId="{1F82DE9B-869F-4E93-8EFC-23E214836F26}" type="presParOf" srcId="{3EA5C518-11EB-4D2C-8092-312B08A8547B}" destId="{5D611C59-4288-402C-8A6B-543EC43B3EEA}" srcOrd="5" destOrd="0" presId="urn:microsoft.com/office/officeart/2005/8/layout/process1"/>
    <dgm:cxn modelId="{225DC84B-DD70-4F5B-9A10-7F55169A1684}" type="presParOf" srcId="{5D611C59-4288-402C-8A6B-543EC43B3EEA}" destId="{D0880986-A72C-4885-AFCC-2F80D9B62971}" srcOrd="0" destOrd="0" presId="urn:microsoft.com/office/officeart/2005/8/layout/process1"/>
    <dgm:cxn modelId="{A68F8530-A744-47AC-A98A-E0BFCC074888}" type="presParOf" srcId="{3EA5C518-11EB-4D2C-8092-312B08A8547B}" destId="{9CFD9C3C-606A-4AA9-98A4-2C10BD98187F}" srcOrd="6" destOrd="0" presId="urn:microsoft.com/office/officeart/2005/8/layout/process1"/>
    <dgm:cxn modelId="{AE43E79B-7B2A-4C67-B3CC-FB972C4FF72F}" type="presParOf" srcId="{3EA5C518-11EB-4D2C-8092-312B08A8547B}" destId="{9416B4E1-33DB-41D7-9C8D-1CB8E1CCF416}" srcOrd="7" destOrd="0" presId="urn:microsoft.com/office/officeart/2005/8/layout/process1"/>
    <dgm:cxn modelId="{D12981B3-9046-4E1A-A959-DDE1D133EB04}" type="presParOf" srcId="{9416B4E1-33DB-41D7-9C8D-1CB8E1CCF416}" destId="{82BAE45F-4E69-456E-995A-E241F5DF51B6}" srcOrd="0" destOrd="0" presId="urn:microsoft.com/office/officeart/2005/8/layout/process1"/>
    <dgm:cxn modelId="{35F2CAB8-B7FA-47E3-9699-09B84D5046FA}" type="presParOf" srcId="{3EA5C518-11EB-4D2C-8092-312B08A8547B}" destId="{E4B3985F-FB8F-4469-97B0-1F82E177C1C9}" srcOrd="8" destOrd="0" presId="urn:microsoft.com/office/officeart/2005/8/layout/process1"/>
    <dgm:cxn modelId="{C01C2814-47CA-46ED-8FBE-F7240B8F258E}" type="presParOf" srcId="{3EA5C518-11EB-4D2C-8092-312B08A8547B}" destId="{EA63E36F-0D92-4502-A0A6-2F2CBE3D1AB2}" srcOrd="9" destOrd="0" presId="urn:microsoft.com/office/officeart/2005/8/layout/process1"/>
    <dgm:cxn modelId="{8A113D38-3A12-45B6-BA48-A4BBEC06F2C7}" type="presParOf" srcId="{EA63E36F-0D92-4502-A0A6-2F2CBE3D1AB2}" destId="{367A7C23-8979-4D66-80EE-4A61DB17FE0E}" srcOrd="0" destOrd="0" presId="urn:microsoft.com/office/officeart/2005/8/layout/process1"/>
    <dgm:cxn modelId="{65E4D6C5-95BD-4709-81B7-9062FC5D9C63}" type="presParOf" srcId="{3EA5C518-11EB-4D2C-8092-312B08A8547B}" destId="{8ED338A9-C971-4263-AE8E-5F1450503848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E17E74-AB73-4FF6-96EB-ECD69BAFB0AE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426DD9E0-6389-47A7-B650-8F2FD5BA7058}">
      <dgm:prSet phldrT="[Text]" custT="1"/>
      <dgm:spPr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r>
            <a:rPr lang="en-US" sz="1100" kern="1200" dirty="0"/>
            <a:t>Increment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Schedule</a:t>
          </a:r>
          <a:r>
            <a:rPr lang="en-US" sz="1100" kern="1200" dirty="0"/>
            <a:t> for next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un</a:t>
          </a:r>
        </a:p>
      </dgm:t>
    </dgm:pt>
    <dgm:pt modelId="{913363C1-0F45-49FF-AC9B-D043F4E628AB}" type="parTrans" cxnId="{5D9928E8-EF1A-4FC1-BAB8-C9ACE1A987D5}">
      <dgm:prSet/>
      <dgm:spPr/>
      <dgm:t>
        <a:bodyPr/>
        <a:lstStyle/>
        <a:p>
          <a:endParaRPr lang="en-US"/>
        </a:p>
      </dgm:t>
    </dgm:pt>
    <dgm:pt modelId="{909A35AA-F309-43C4-8777-8C6063609F20}" type="sibTrans" cxnId="{5D9928E8-EF1A-4FC1-BAB8-C9ACE1A987D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rtlCol="0" anchor="ctr" anchorCtr="0"/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EC64E76F-1B14-4CA3-9F7E-D64D3C2A2BB9}">
      <dgm:prSet phldrT="[Text]"/>
      <dgm:spPr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r>
            <a:rPr lang="en-US" dirty="0"/>
            <a:t>Kill </a:t>
          </a:r>
          <a:r>
            <a:rPr lang="en-US" dirty="0" err="1"/>
            <a:t>Unisim</a:t>
          </a:r>
          <a:r>
            <a:rPr lang="en-US" dirty="0"/>
            <a:t> Process if </a:t>
          </a:r>
          <a:r>
            <a:rPr lang="en-US" dirty="0" err="1"/>
            <a:t>KeepProcess</a:t>
          </a:r>
          <a:r>
            <a:rPr lang="en-US" dirty="0"/>
            <a:t> False</a:t>
          </a:r>
        </a:p>
      </dgm:t>
    </dgm:pt>
    <dgm:pt modelId="{730EC631-8946-40C5-8120-8BEDE12C1DD2}" type="parTrans" cxnId="{F46A6166-5240-4B9B-AC50-2C4A18BDCB9C}">
      <dgm:prSet/>
      <dgm:spPr/>
      <dgm:t>
        <a:bodyPr/>
        <a:lstStyle/>
        <a:p>
          <a:endParaRPr lang="en-US"/>
        </a:p>
      </dgm:t>
    </dgm:pt>
    <dgm:pt modelId="{539A4158-EE58-48A0-89E0-F3ABA761B80F}" type="sibTrans" cxnId="{F46A6166-5240-4B9B-AC50-2C4A18BDCB9C}">
      <dgm:prSet/>
      <dgm:spPr/>
      <dgm:t>
        <a:bodyPr/>
        <a:lstStyle/>
        <a:p>
          <a:endParaRPr lang="en-US"/>
        </a:p>
      </dgm:t>
    </dgm:pt>
    <dgm:pt modelId="{E0D1117E-5171-4D46-9BF3-7B7A17CD7F3E}">
      <dgm:prSet phldrT="[Text]" custT="1"/>
      <dgm:spPr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un Solver</a:t>
          </a:r>
        </a:p>
      </dgm:t>
    </dgm:pt>
    <dgm:pt modelId="{42BDEEB1-6987-4523-A6D3-E7FCDC38AA8F}" type="parTrans" cxnId="{C1256445-70A3-4FC2-9035-850F8F765E60}">
      <dgm:prSet/>
      <dgm:spPr/>
      <dgm:t>
        <a:bodyPr/>
        <a:lstStyle/>
        <a:p>
          <a:endParaRPr lang="en-US"/>
        </a:p>
      </dgm:t>
    </dgm:pt>
    <dgm:pt modelId="{0FDEB8B6-424A-4F56-A9F2-1FB04FE003DF}" type="sibTrans" cxnId="{C1256445-70A3-4FC2-9035-850F8F765E60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05C26653-AB16-4D94-A300-EC11FEAD09DF}">
      <dgm:prSet phldrT="[Text]" custT="1"/>
      <dgm:spPr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r>
            <a:rPr lang="en-US" sz="1100" kern="1200" dirty="0"/>
            <a:t>Generation of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Output</a:t>
          </a:r>
          <a:r>
            <a:rPr lang="en-US" sz="1100" kern="1200" dirty="0"/>
            <a:t> Snapshot .csv &amp; .</a:t>
          </a:r>
          <a:r>
            <a:rPr lang="en-US" sz="1100" kern="1200" dirty="0" err="1"/>
            <a:t>usp</a:t>
          </a:r>
          <a:endParaRPr lang="en-US" sz="1100" kern="1200" dirty="0"/>
        </a:p>
        <a:p>
          <a:endParaRPr lang="en-US" sz="1100" kern="1200" dirty="0"/>
        </a:p>
      </dgm:t>
    </dgm:pt>
    <dgm:pt modelId="{94B92D5C-7866-4CB6-8830-8E08B94071DF}" type="parTrans" cxnId="{CBB5D434-FF77-47EF-BFF4-10D21217EF13}">
      <dgm:prSet/>
      <dgm:spPr/>
      <dgm:t>
        <a:bodyPr/>
        <a:lstStyle/>
        <a:p>
          <a:endParaRPr lang="en-US"/>
        </a:p>
      </dgm:t>
    </dgm:pt>
    <dgm:pt modelId="{51532342-96B4-4F56-B84C-5F0060E9D564}" type="sibTrans" cxnId="{CBB5D434-FF77-47EF-BFF4-10D21217EF13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994F901-A4F4-4BF3-8DB0-416205603C46}">
      <dgm:prSet phldrT="[Text]"/>
      <dgm:spPr/>
      <dgm:t>
        <a:bodyPr/>
        <a:lstStyle/>
        <a:p>
          <a:r>
            <a:rPr lang="en-US" dirty="0"/>
            <a:t>Fetching of the Values Input Values  for USD Input PDT</a:t>
          </a:r>
        </a:p>
      </dgm:t>
    </dgm:pt>
    <dgm:pt modelId="{9C24EB96-B23E-4980-8FAC-AA74AE769802}" type="sibTrans" cxnId="{8B635680-1054-4386-8F4B-65F2962ABB55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BC4D776D-F347-4414-B1F4-AF346A48F72B}" type="parTrans" cxnId="{8B635680-1054-4386-8F4B-65F2962ABB55}">
      <dgm:prSet/>
      <dgm:spPr/>
      <dgm:t>
        <a:bodyPr/>
        <a:lstStyle/>
        <a:p>
          <a:endParaRPr lang="en-US"/>
        </a:p>
      </dgm:t>
    </dgm:pt>
    <dgm:pt modelId="{03471681-4279-4C09-BB75-0742797532E7}">
      <dgm:prSet phldrT="[Text]"/>
      <dgm:spPr/>
      <dgm:t>
        <a:bodyPr/>
        <a:lstStyle/>
        <a:p>
          <a:r>
            <a:rPr lang="en-US" dirty="0"/>
            <a:t>Scheduling of the Orchestration Service</a:t>
          </a:r>
        </a:p>
      </dgm:t>
    </dgm:pt>
    <dgm:pt modelId="{91C8FF75-150B-47C3-9247-0842596A896B}" type="sibTrans" cxnId="{9E7035BD-F30D-44CF-894B-7FAF5E2C6675}">
      <dgm:prSet/>
      <dgm:spPr>
        <a:solidFill>
          <a:srgbClr val="404040"/>
        </a:solidFill>
      </dgm:spPr>
      <dgm:t>
        <a:bodyPr/>
        <a:lstStyle/>
        <a:p>
          <a:endParaRPr lang="en-US"/>
        </a:p>
      </dgm:t>
    </dgm:pt>
    <dgm:pt modelId="{534A9F47-5BED-425E-80B1-9F636B80D88B}" type="parTrans" cxnId="{9E7035BD-F30D-44CF-894B-7FAF5E2C6675}">
      <dgm:prSet/>
      <dgm:spPr/>
      <dgm:t>
        <a:bodyPr/>
        <a:lstStyle/>
        <a:p>
          <a:endParaRPr lang="en-US"/>
        </a:p>
      </dgm:t>
    </dgm:pt>
    <dgm:pt modelId="{FC637A2C-F7D9-4716-87BB-48A35712AA51}">
      <dgm:prSet phldrT="[Text]"/>
      <dgm:spPr/>
      <dgm:t>
        <a:bodyPr/>
        <a:lstStyle/>
        <a:p>
          <a:r>
            <a:rPr lang="en-US" dirty="0"/>
            <a:t>Ready Check</a:t>
          </a:r>
        </a:p>
      </dgm:t>
    </dgm:pt>
    <dgm:pt modelId="{794DF3C9-085C-4B7D-BBFB-72DD03E4FAE0}" type="parTrans" cxnId="{9784A006-E49B-440A-BADA-A17F447391A7}">
      <dgm:prSet/>
      <dgm:spPr/>
      <dgm:t>
        <a:bodyPr/>
        <a:lstStyle/>
        <a:p>
          <a:endParaRPr lang="en-US"/>
        </a:p>
      </dgm:t>
    </dgm:pt>
    <dgm:pt modelId="{D780B16A-6A01-4DB5-B4F0-01D256CF4A84}" type="sibTrans" cxnId="{9784A006-E49B-440A-BADA-A17F447391A7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48BF9A4F-826A-48F6-9AD3-1F0F0D092056}">
      <dgm:prSet phldrT="[Text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n-US" dirty="0"/>
            <a:t>Generation of Input Snapshot .csv &amp; .</a:t>
          </a:r>
          <a:r>
            <a:rPr lang="en-US" dirty="0" err="1"/>
            <a:t>usp</a:t>
          </a:r>
          <a:endParaRPr lang="en-US" dirty="0"/>
        </a:p>
      </dgm:t>
    </dgm:pt>
    <dgm:pt modelId="{C84D108D-9493-4804-AB69-B27B7DFD4B85}" type="parTrans" cxnId="{01D37D48-45CF-400B-A5EE-10072DB6A608}">
      <dgm:prSet/>
      <dgm:spPr/>
      <dgm:t>
        <a:bodyPr/>
        <a:lstStyle/>
        <a:p>
          <a:endParaRPr lang="en-US"/>
        </a:p>
      </dgm:t>
    </dgm:pt>
    <dgm:pt modelId="{E1810FFF-9847-42CA-BCEF-93C1DE95BB7A}" type="sibTrans" cxnId="{01D37D48-45CF-400B-A5EE-10072DB6A608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EA5C518-11EB-4D2C-8092-312B08A8547B}" type="pres">
      <dgm:prSet presAssocID="{66E17E74-AB73-4FF6-96EB-ECD69BAFB0AE}" presName="Name0" presStyleCnt="0">
        <dgm:presLayoutVars>
          <dgm:dir/>
          <dgm:resizeHandles val="exact"/>
        </dgm:presLayoutVars>
      </dgm:prSet>
      <dgm:spPr/>
    </dgm:pt>
    <dgm:pt modelId="{8749287A-CC6E-487C-B3BE-534EE328D5F1}" type="pres">
      <dgm:prSet presAssocID="{03471681-4279-4C09-BB75-0742797532E7}" presName="node" presStyleLbl="node1" presStyleIdx="0" presStyleCnt="8">
        <dgm:presLayoutVars>
          <dgm:bulletEnabled val="1"/>
        </dgm:presLayoutVars>
      </dgm:prSet>
      <dgm:spPr/>
    </dgm:pt>
    <dgm:pt modelId="{41B46D50-E655-4EE4-A14C-4B50AB9E230A}" type="pres">
      <dgm:prSet presAssocID="{91C8FF75-150B-47C3-9247-0842596A896B}" presName="sibTrans" presStyleLbl="sibTrans2D1" presStyleIdx="0" presStyleCnt="7" custScaleX="184656"/>
      <dgm:spPr/>
    </dgm:pt>
    <dgm:pt modelId="{3FF98395-AFEC-48B3-BB6C-A4AC5C1D730C}" type="pres">
      <dgm:prSet presAssocID="{91C8FF75-150B-47C3-9247-0842596A896B}" presName="connectorText" presStyleLbl="sibTrans2D1" presStyleIdx="0" presStyleCnt="7"/>
      <dgm:spPr/>
    </dgm:pt>
    <dgm:pt modelId="{320A4903-99F2-4A61-80F9-519799B5466D}" type="pres">
      <dgm:prSet presAssocID="{FC637A2C-F7D9-4716-87BB-48A35712AA51}" presName="node" presStyleLbl="node1" presStyleIdx="1" presStyleCnt="8">
        <dgm:presLayoutVars>
          <dgm:bulletEnabled val="1"/>
        </dgm:presLayoutVars>
      </dgm:prSet>
      <dgm:spPr/>
    </dgm:pt>
    <dgm:pt modelId="{48F0DB3F-CED0-4A30-84C3-F74402984B33}" type="pres">
      <dgm:prSet presAssocID="{D780B16A-6A01-4DB5-B4F0-01D256CF4A84}" presName="sibTrans" presStyleLbl="sibTrans2D1" presStyleIdx="1" presStyleCnt="7" custScaleX="187316"/>
      <dgm:spPr>
        <a:xfrm>
          <a:off x="2594972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F984739F-52BF-4B5A-96A1-1D703DA4AADA}" type="pres">
      <dgm:prSet presAssocID="{D780B16A-6A01-4DB5-B4F0-01D256CF4A84}" presName="connectorText" presStyleLbl="sibTrans2D1" presStyleIdx="1" presStyleCnt="7"/>
      <dgm:spPr/>
    </dgm:pt>
    <dgm:pt modelId="{816EB92E-FBC1-4097-8DCC-B2FE6ED0186C}" type="pres">
      <dgm:prSet presAssocID="{3994F901-A4F4-4BF3-8DB0-416205603C46}" presName="node" presStyleLbl="node1" presStyleIdx="2" presStyleCnt="8">
        <dgm:presLayoutVars>
          <dgm:bulletEnabled val="1"/>
        </dgm:presLayoutVars>
      </dgm:prSet>
      <dgm:spPr/>
    </dgm:pt>
    <dgm:pt modelId="{5D611C59-4288-402C-8A6B-543EC43B3EEA}" type="pres">
      <dgm:prSet presAssocID="{9C24EB96-B23E-4980-8FAC-AA74AE769802}" presName="sibTrans" presStyleLbl="sibTrans2D1" presStyleIdx="2" presStyleCnt="7" custScaleX="209129"/>
      <dgm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D0880986-A72C-4885-AFCC-2F80D9B62971}" type="pres">
      <dgm:prSet presAssocID="{9C24EB96-B23E-4980-8FAC-AA74AE769802}" presName="connectorText" presStyleLbl="sibTrans2D1" presStyleIdx="2" presStyleCnt="7"/>
      <dgm:spPr/>
    </dgm:pt>
    <dgm:pt modelId="{F1A7AAB0-F43B-42C8-B704-4266D2D7ADEA}" type="pres">
      <dgm:prSet presAssocID="{48BF9A4F-826A-48F6-9AD3-1F0F0D092056}" presName="node" presStyleLbl="node1" presStyleIdx="3" presStyleCnt="8">
        <dgm:presLayoutVars>
          <dgm:bulletEnabled val="1"/>
        </dgm:presLayoutVars>
      </dgm:prSet>
      <dgm:spPr/>
    </dgm:pt>
    <dgm:pt modelId="{616F52CE-0D12-42DE-A96D-EA1BA4BF062C}" type="pres">
      <dgm:prSet presAssocID="{E1810FFF-9847-42CA-BCEF-93C1DE95BB7A}" presName="sibTrans" presStyleLbl="sibTrans2D1" presStyleIdx="3" presStyleCnt="7" custScaleX="187780"/>
      <dgm:spPr>
        <a:xfrm>
          <a:off x="5497054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EAEB3B28-2060-4EEF-9864-F9604971277A}" type="pres">
      <dgm:prSet presAssocID="{E1810FFF-9847-42CA-BCEF-93C1DE95BB7A}" presName="connectorText" presStyleLbl="sibTrans2D1" presStyleIdx="3" presStyleCnt="7"/>
      <dgm:spPr/>
    </dgm:pt>
    <dgm:pt modelId="{9CFD9C3C-606A-4AA9-98A4-2C10BD98187F}" type="pres">
      <dgm:prSet presAssocID="{E0D1117E-5171-4D46-9BF3-7B7A17CD7F3E}" presName="node" presStyleLbl="node1" presStyleIdx="4" presStyleCnt="8">
        <dgm:presLayoutVars>
          <dgm:bulletEnabled val="1"/>
        </dgm:presLayoutVars>
      </dgm:prSet>
      <dgm:spPr>
        <a:xfrm>
          <a:off x="5807991" y="1777768"/>
          <a:ext cx="1036457" cy="932223"/>
        </a:xfrm>
        <a:prstGeom prst="roundRect">
          <a:avLst>
            <a:gd name="adj" fmla="val 10000"/>
          </a:avLst>
        </a:prstGeom>
      </dgm:spPr>
    </dgm:pt>
    <dgm:pt modelId="{9416B4E1-33DB-41D7-9C8D-1CB8E1CCF416}" type="pres">
      <dgm:prSet presAssocID="{0FDEB8B6-424A-4F56-A9F2-1FB04FE003DF}" presName="sibTrans" presStyleLbl="sibTrans2D1" presStyleIdx="4" presStyleCnt="7" custScaleX="201604"/>
      <dgm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82BAE45F-4E69-456E-995A-E241F5DF51B6}" type="pres">
      <dgm:prSet presAssocID="{0FDEB8B6-424A-4F56-A9F2-1FB04FE003DF}" presName="connectorText" presStyleLbl="sibTrans2D1" presStyleIdx="4" presStyleCnt="7"/>
      <dgm:spPr/>
    </dgm:pt>
    <dgm:pt modelId="{E4B3985F-FB8F-4469-97B0-1F82E177C1C9}" type="pres">
      <dgm:prSet presAssocID="{05C26653-AB16-4D94-A300-EC11FEAD09DF}" presName="node" presStyleLbl="node1" presStyleIdx="5" presStyleCnt="8">
        <dgm:presLayoutVars>
          <dgm:bulletEnabled val="1"/>
        </dgm:presLayoutVars>
      </dgm:prSet>
      <dgm:spPr>
        <a:xfrm>
          <a:off x="7259032" y="1777768"/>
          <a:ext cx="1036457" cy="932223"/>
        </a:xfrm>
        <a:prstGeom prst="roundRect">
          <a:avLst>
            <a:gd name="adj" fmla="val 10000"/>
          </a:avLst>
        </a:prstGeom>
      </dgm:spPr>
    </dgm:pt>
    <dgm:pt modelId="{EA63E36F-0D92-4502-A0A6-2F2CBE3D1AB2}" type="pres">
      <dgm:prSet presAssocID="{51532342-96B4-4F56-B84C-5F0060E9D564}" presName="sibTrans" presStyleLbl="sibTrans2D1" presStyleIdx="5" presStyleCnt="7" custScaleX="177123"/>
      <dgm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367A7C23-8979-4D66-80EE-4A61DB17FE0E}" type="pres">
      <dgm:prSet presAssocID="{51532342-96B4-4F56-B84C-5F0060E9D564}" presName="connectorText" presStyleLbl="sibTrans2D1" presStyleIdx="5" presStyleCnt="7"/>
      <dgm:spPr/>
    </dgm:pt>
    <dgm:pt modelId="{8ED338A9-C971-4263-AE8E-5F1450503848}" type="pres">
      <dgm:prSet presAssocID="{426DD9E0-6389-47A7-B650-8F2FD5BA7058}" presName="node" presStyleLbl="node1" presStyleIdx="6" presStyleCnt="8">
        <dgm:presLayoutVars>
          <dgm:bulletEnabled val="1"/>
        </dgm:presLayoutVars>
      </dgm:prSet>
      <dgm:spPr>
        <a:xfrm>
          <a:off x="8710072" y="1777768"/>
          <a:ext cx="1036457" cy="932223"/>
        </a:xfrm>
        <a:prstGeom prst="roundRect">
          <a:avLst>
            <a:gd name="adj" fmla="val 10000"/>
          </a:avLst>
        </a:prstGeom>
      </dgm:spPr>
    </dgm:pt>
    <dgm:pt modelId="{D040C85B-E296-4E29-9F2B-99DCF11F0937}" type="pres">
      <dgm:prSet presAssocID="{909A35AA-F309-43C4-8777-8C6063609F20}" presName="sibTrans" presStyleLbl="sibTrans2D1" presStyleIdx="6" presStyleCnt="7" custScaleX="203512"/>
      <dgm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067DEAD1-77CE-4FF3-B4F9-39FCBDEE25E1}" type="pres">
      <dgm:prSet presAssocID="{909A35AA-F309-43C4-8777-8C6063609F20}" presName="connectorText" presStyleLbl="sibTrans2D1" presStyleIdx="6" presStyleCnt="7"/>
      <dgm:spPr/>
    </dgm:pt>
    <dgm:pt modelId="{07AE541E-C2AA-40A3-84B5-09BFD090D7BF}" type="pres">
      <dgm:prSet presAssocID="{EC64E76F-1B14-4CA3-9F7E-D64D3C2A2BB9}" presName="node" presStyleLbl="node1" presStyleIdx="7" presStyleCnt="8">
        <dgm:presLayoutVars>
          <dgm:bulletEnabled val="1"/>
        </dgm:presLayoutVars>
      </dgm:prSet>
      <dgm:spPr>
        <a:xfrm>
          <a:off x="10161113" y="1777768"/>
          <a:ext cx="1036457" cy="932223"/>
        </a:xfrm>
        <a:prstGeom prst="roundRect">
          <a:avLst>
            <a:gd name="adj" fmla="val 10000"/>
          </a:avLst>
        </a:prstGeom>
      </dgm:spPr>
    </dgm:pt>
  </dgm:ptLst>
  <dgm:cxnLst>
    <dgm:cxn modelId="{9784A006-E49B-440A-BADA-A17F447391A7}" srcId="{66E17E74-AB73-4FF6-96EB-ECD69BAFB0AE}" destId="{FC637A2C-F7D9-4716-87BB-48A35712AA51}" srcOrd="1" destOrd="0" parTransId="{794DF3C9-085C-4B7D-BBFB-72DD03E4FAE0}" sibTransId="{D780B16A-6A01-4DB5-B4F0-01D256CF4A84}"/>
    <dgm:cxn modelId="{A4EE7F23-891A-45D7-B3FE-FB1DFCB570FC}" type="presOf" srcId="{51532342-96B4-4F56-B84C-5F0060E9D564}" destId="{367A7C23-8979-4D66-80EE-4A61DB17FE0E}" srcOrd="1" destOrd="0" presId="urn:microsoft.com/office/officeart/2005/8/layout/process1"/>
    <dgm:cxn modelId="{1C6E6F24-4967-4B2E-A220-DA4B02C8C352}" type="presOf" srcId="{0FDEB8B6-424A-4F56-A9F2-1FB04FE003DF}" destId="{82BAE45F-4E69-456E-995A-E241F5DF51B6}" srcOrd="1" destOrd="0" presId="urn:microsoft.com/office/officeart/2005/8/layout/process1"/>
    <dgm:cxn modelId="{F61FFC27-A021-4522-A13C-EE51EDF84E00}" type="presOf" srcId="{909A35AA-F309-43C4-8777-8C6063609F20}" destId="{067DEAD1-77CE-4FF3-B4F9-39FCBDEE25E1}" srcOrd="1" destOrd="0" presId="urn:microsoft.com/office/officeart/2005/8/layout/process1"/>
    <dgm:cxn modelId="{CBB5D434-FF77-47EF-BFF4-10D21217EF13}" srcId="{66E17E74-AB73-4FF6-96EB-ECD69BAFB0AE}" destId="{05C26653-AB16-4D94-A300-EC11FEAD09DF}" srcOrd="5" destOrd="0" parTransId="{94B92D5C-7866-4CB6-8830-8E08B94071DF}" sibTransId="{51532342-96B4-4F56-B84C-5F0060E9D564}"/>
    <dgm:cxn modelId="{B9239A3F-4E73-4BA3-B015-0543FE748B8C}" type="presOf" srcId="{9C24EB96-B23E-4980-8FAC-AA74AE769802}" destId="{D0880986-A72C-4885-AFCC-2F80D9B62971}" srcOrd="1" destOrd="0" presId="urn:microsoft.com/office/officeart/2005/8/layout/process1"/>
    <dgm:cxn modelId="{F9BF6D43-4358-4631-8C03-1307DB55E5E8}" type="presOf" srcId="{D780B16A-6A01-4DB5-B4F0-01D256CF4A84}" destId="{F984739F-52BF-4B5A-96A1-1D703DA4AADA}" srcOrd="1" destOrd="0" presId="urn:microsoft.com/office/officeart/2005/8/layout/process1"/>
    <dgm:cxn modelId="{1C16A144-DA8A-4E49-A177-91FF647E2998}" type="presOf" srcId="{66E17E74-AB73-4FF6-96EB-ECD69BAFB0AE}" destId="{3EA5C518-11EB-4D2C-8092-312B08A8547B}" srcOrd="0" destOrd="0" presId="urn:microsoft.com/office/officeart/2005/8/layout/process1"/>
    <dgm:cxn modelId="{C1256445-70A3-4FC2-9035-850F8F765E60}" srcId="{66E17E74-AB73-4FF6-96EB-ECD69BAFB0AE}" destId="{E0D1117E-5171-4D46-9BF3-7B7A17CD7F3E}" srcOrd="4" destOrd="0" parTransId="{42BDEEB1-6987-4523-A6D3-E7FCDC38AA8F}" sibTransId="{0FDEB8B6-424A-4F56-A9F2-1FB04FE003DF}"/>
    <dgm:cxn modelId="{F46A6166-5240-4B9B-AC50-2C4A18BDCB9C}" srcId="{66E17E74-AB73-4FF6-96EB-ECD69BAFB0AE}" destId="{EC64E76F-1B14-4CA3-9F7E-D64D3C2A2BB9}" srcOrd="7" destOrd="0" parTransId="{730EC631-8946-40C5-8120-8BEDE12C1DD2}" sibTransId="{539A4158-EE58-48A0-89E0-F3ABA761B80F}"/>
    <dgm:cxn modelId="{01D37D48-45CF-400B-A5EE-10072DB6A608}" srcId="{66E17E74-AB73-4FF6-96EB-ECD69BAFB0AE}" destId="{48BF9A4F-826A-48F6-9AD3-1F0F0D092056}" srcOrd="3" destOrd="0" parTransId="{C84D108D-9493-4804-AB69-B27B7DFD4B85}" sibTransId="{E1810FFF-9847-42CA-BCEF-93C1DE95BB7A}"/>
    <dgm:cxn modelId="{CEC38A68-7431-4875-82E9-0009F7302641}" type="presOf" srcId="{909A35AA-F309-43C4-8777-8C6063609F20}" destId="{D040C85B-E296-4E29-9F2B-99DCF11F0937}" srcOrd="0" destOrd="0" presId="urn:microsoft.com/office/officeart/2005/8/layout/process1"/>
    <dgm:cxn modelId="{8F9EB14C-895F-423E-8D63-5E72C1CFF517}" type="presOf" srcId="{0FDEB8B6-424A-4F56-A9F2-1FB04FE003DF}" destId="{9416B4E1-33DB-41D7-9C8D-1CB8E1CCF416}" srcOrd="0" destOrd="0" presId="urn:microsoft.com/office/officeart/2005/8/layout/process1"/>
    <dgm:cxn modelId="{3C902372-BA4D-472B-8CFF-D180E636F723}" type="presOf" srcId="{48BF9A4F-826A-48F6-9AD3-1F0F0D092056}" destId="{F1A7AAB0-F43B-42C8-B704-4266D2D7ADEA}" srcOrd="0" destOrd="0" presId="urn:microsoft.com/office/officeart/2005/8/layout/process1"/>
    <dgm:cxn modelId="{BB78A477-4266-401A-ADE4-C76E2A9F6D98}" type="presOf" srcId="{E1810FFF-9847-42CA-BCEF-93C1DE95BB7A}" destId="{616F52CE-0D12-42DE-A96D-EA1BA4BF062C}" srcOrd="0" destOrd="0" presId="urn:microsoft.com/office/officeart/2005/8/layout/process1"/>
    <dgm:cxn modelId="{8B635680-1054-4386-8F4B-65F2962ABB55}" srcId="{66E17E74-AB73-4FF6-96EB-ECD69BAFB0AE}" destId="{3994F901-A4F4-4BF3-8DB0-416205603C46}" srcOrd="2" destOrd="0" parTransId="{BC4D776D-F347-4414-B1F4-AF346A48F72B}" sibTransId="{9C24EB96-B23E-4980-8FAC-AA74AE769802}"/>
    <dgm:cxn modelId="{347AD388-26C1-4CAA-9B39-99C4E9E2B236}" type="presOf" srcId="{EC64E76F-1B14-4CA3-9F7E-D64D3C2A2BB9}" destId="{07AE541E-C2AA-40A3-84B5-09BFD090D7BF}" srcOrd="0" destOrd="0" presId="urn:microsoft.com/office/officeart/2005/8/layout/process1"/>
    <dgm:cxn modelId="{DA42A8A2-2010-498D-8344-A419FF36D9D9}" type="presOf" srcId="{426DD9E0-6389-47A7-B650-8F2FD5BA7058}" destId="{8ED338A9-C971-4263-AE8E-5F1450503848}" srcOrd="0" destOrd="0" presId="urn:microsoft.com/office/officeart/2005/8/layout/process1"/>
    <dgm:cxn modelId="{4671F1A6-6D9C-4211-81C6-124591D13DE6}" type="presOf" srcId="{D780B16A-6A01-4DB5-B4F0-01D256CF4A84}" destId="{48F0DB3F-CED0-4A30-84C3-F74402984B33}" srcOrd="0" destOrd="0" presId="urn:microsoft.com/office/officeart/2005/8/layout/process1"/>
    <dgm:cxn modelId="{E12AA9B1-62D5-4876-9203-58BE012B5040}" type="presOf" srcId="{03471681-4279-4C09-BB75-0742797532E7}" destId="{8749287A-CC6E-487C-B3BE-534EE328D5F1}" srcOrd="0" destOrd="0" presId="urn:microsoft.com/office/officeart/2005/8/layout/process1"/>
    <dgm:cxn modelId="{86DE3BB3-3E0A-4306-B1E8-2D449ABFCD7A}" type="presOf" srcId="{9C24EB96-B23E-4980-8FAC-AA74AE769802}" destId="{5D611C59-4288-402C-8A6B-543EC43B3EEA}" srcOrd="0" destOrd="0" presId="urn:microsoft.com/office/officeart/2005/8/layout/process1"/>
    <dgm:cxn modelId="{9E7035BD-F30D-44CF-894B-7FAF5E2C6675}" srcId="{66E17E74-AB73-4FF6-96EB-ECD69BAFB0AE}" destId="{03471681-4279-4C09-BB75-0742797532E7}" srcOrd="0" destOrd="0" parTransId="{534A9F47-5BED-425E-80B1-9F636B80D88B}" sibTransId="{91C8FF75-150B-47C3-9247-0842596A896B}"/>
    <dgm:cxn modelId="{89EBEEC9-1372-4E7F-91B5-2C2199FE6171}" type="presOf" srcId="{E1810FFF-9847-42CA-BCEF-93C1DE95BB7A}" destId="{EAEB3B28-2060-4EEF-9864-F9604971277A}" srcOrd="1" destOrd="0" presId="urn:microsoft.com/office/officeart/2005/8/layout/process1"/>
    <dgm:cxn modelId="{9DD21CCB-4BE8-4914-BCF4-450AE5F18B57}" type="presOf" srcId="{51532342-96B4-4F56-B84C-5F0060E9D564}" destId="{EA63E36F-0D92-4502-A0A6-2F2CBE3D1AB2}" srcOrd="0" destOrd="0" presId="urn:microsoft.com/office/officeart/2005/8/layout/process1"/>
    <dgm:cxn modelId="{79A12AE2-EC76-43F0-B440-F79D2A169FB4}" type="presOf" srcId="{91C8FF75-150B-47C3-9247-0842596A896B}" destId="{3FF98395-AFEC-48B3-BB6C-A4AC5C1D730C}" srcOrd="1" destOrd="0" presId="urn:microsoft.com/office/officeart/2005/8/layout/process1"/>
    <dgm:cxn modelId="{856DBBE4-A507-4390-9858-41C370EB8DFE}" type="presOf" srcId="{05C26653-AB16-4D94-A300-EC11FEAD09DF}" destId="{E4B3985F-FB8F-4469-97B0-1F82E177C1C9}" srcOrd="0" destOrd="0" presId="urn:microsoft.com/office/officeart/2005/8/layout/process1"/>
    <dgm:cxn modelId="{5D9928E8-EF1A-4FC1-BAB8-C9ACE1A987D5}" srcId="{66E17E74-AB73-4FF6-96EB-ECD69BAFB0AE}" destId="{426DD9E0-6389-47A7-B650-8F2FD5BA7058}" srcOrd="6" destOrd="0" parTransId="{913363C1-0F45-49FF-AC9B-D043F4E628AB}" sibTransId="{909A35AA-F309-43C4-8777-8C6063609F20}"/>
    <dgm:cxn modelId="{DA3B87E8-43C7-486B-B2E9-DF75804DCC13}" type="presOf" srcId="{FC637A2C-F7D9-4716-87BB-48A35712AA51}" destId="{320A4903-99F2-4A61-80F9-519799B5466D}" srcOrd="0" destOrd="0" presId="urn:microsoft.com/office/officeart/2005/8/layout/process1"/>
    <dgm:cxn modelId="{6EE766F0-3586-44BE-AF09-291E22F43266}" type="presOf" srcId="{91C8FF75-150B-47C3-9247-0842596A896B}" destId="{41B46D50-E655-4EE4-A14C-4B50AB9E230A}" srcOrd="0" destOrd="0" presId="urn:microsoft.com/office/officeart/2005/8/layout/process1"/>
    <dgm:cxn modelId="{082919F2-2214-4F6F-A1BB-654CD5F52D3B}" type="presOf" srcId="{E0D1117E-5171-4D46-9BF3-7B7A17CD7F3E}" destId="{9CFD9C3C-606A-4AA9-98A4-2C10BD98187F}" srcOrd="0" destOrd="0" presId="urn:microsoft.com/office/officeart/2005/8/layout/process1"/>
    <dgm:cxn modelId="{602004FA-7166-4069-9466-35BB3F452DB8}" type="presOf" srcId="{3994F901-A4F4-4BF3-8DB0-416205603C46}" destId="{816EB92E-FBC1-4097-8DCC-B2FE6ED0186C}" srcOrd="0" destOrd="0" presId="urn:microsoft.com/office/officeart/2005/8/layout/process1"/>
    <dgm:cxn modelId="{77968500-8587-4773-BA0D-61967BA5B046}" type="presParOf" srcId="{3EA5C518-11EB-4D2C-8092-312B08A8547B}" destId="{8749287A-CC6E-487C-B3BE-534EE328D5F1}" srcOrd="0" destOrd="0" presId="urn:microsoft.com/office/officeart/2005/8/layout/process1"/>
    <dgm:cxn modelId="{28839EE9-63A8-4AFA-80D6-B9FDA54C8A66}" type="presParOf" srcId="{3EA5C518-11EB-4D2C-8092-312B08A8547B}" destId="{41B46D50-E655-4EE4-A14C-4B50AB9E230A}" srcOrd="1" destOrd="0" presId="urn:microsoft.com/office/officeart/2005/8/layout/process1"/>
    <dgm:cxn modelId="{4422C2D8-3337-4F9A-BCC9-A8A2B9CFB9E4}" type="presParOf" srcId="{41B46D50-E655-4EE4-A14C-4B50AB9E230A}" destId="{3FF98395-AFEC-48B3-BB6C-A4AC5C1D730C}" srcOrd="0" destOrd="0" presId="urn:microsoft.com/office/officeart/2005/8/layout/process1"/>
    <dgm:cxn modelId="{D76F8534-25EA-499E-A83E-A27262929518}" type="presParOf" srcId="{3EA5C518-11EB-4D2C-8092-312B08A8547B}" destId="{320A4903-99F2-4A61-80F9-519799B5466D}" srcOrd="2" destOrd="0" presId="urn:microsoft.com/office/officeart/2005/8/layout/process1"/>
    <dgm:cxn modelId="{2995158F-2C86-4C7D-8F82-08D46F03EE6F}" type="presParOf" srcId="{3EA5C518-11EB-4D2C-8092-312B08A8547B}" destId="{48F0DB3F-CED0-4A30-84C3-F74402984B33}" srcOrd="3" destOrd="0" presId="urn:microsoft.com/office/officeart/2005/8/layout/process1"/>
    <dgm:cxn modelId="{4A134B5C-72C8-4A62-B7FD-3596D1FE3075}" type="presParOf" srcId="{48F0DB3F-CED0-4A30-84C3-F74402984B33}" destId="{F984739F-52BF-4B5A-96A1-1D703DA4AADA}" srcOrd="0" destOrd="0" presId="urn:microsoft.com/office/officeart/2005/8/layout/process1"/>
    <dgm:cxn modelId="{31FE913A-BD68-4339-BF0C-B0D348FD104A}" type="presParOf" srcId="{3EA5C518-11EB-4D2C-8092-312B08A8547B}" destId="{816EB92E-FBC1-4097-8DCC-B2FE6ED0186C}" srcOrd="4" destOrd="0" presId="urn:microsoft.com/office/officeart/2005/8/layout/process1"/>
    <dgm:cxn modelId="{1F82DE9B-869F-4E93-8EFC-23E214836F26}" type="presParOf" srcId="{3EA5C518-11EB-4D2C-8092-312B08A8547B}" destId="{5D611C59-4288-402C-8A6B-543EC43B3EEA}" srcOrd="5" destOrd="0" presId="urn:microsoft.com/office/officeart/2005/8/layout/process1"/>
    <dgm:cxn modelId="{225DC84B-DD70-4F5B-9A10-7F55169A1684}" type="presParOf" srcId="{5D611C59-4288-402C-8A6B-543EC43B3EEA}" destId="{D0880986-A72C-4885-AFCC-2F80D9B62971}" srcOrd="0" destOrd="0" presId="urn:microsoft.com/office/officeart/2005/8/layout/process1"/>
    <dgm:cxn modelId="{06155F3D-7AE6-475F-B485-3466EFB66F8E}" type="presParOf" srcId="{3EA5C518-11EB-4D2C-8092-312B08A8547B}" destId="{F1A7AAB0-F43B-42C8-B704-4266D2D7ADEA}" srcOrd="6" destOrd="0" presId="urn:microsoft.com/office/officeart/2005/8/layout/process1"/>
    <dgm:cxn modelId="{A9A1A591-1C3F-4F31-A935-CD49AF3A2453}" type="presParOf" srcId="{3EA5C518-11EB-4D2C-8092-312B08A8547B}" destId="{616F52CE-0D12-42DE-A96D-EA1BA4BF062C}" srcOrd="7" destOrd="0" presId="urn:microsoft.com/office/officeart/2005/8/layout/process1"/>
    <dgm:cxn modelId="{56476DF5-6B35-42D1-9682-DE51EEB0DA34}" type="presParOf" srcId="{616F52CE-0D12-42DE-A96D-EA1BA4BF062C}" destId="{EAEB3B28-2060-4EEF-9864-F9604971277A}" srcOrd="0" destOrd="0" presId="urn:microsoft.com/office/officeart/2005/8/layout/process1"/>
    <dgm:cxn modelId="{A68F8530-A744-47AC-A98A-E0BFCC074888}" type="presParOf" srcId="{3EA5C518-11EB-4D2C-8092-312B08A8547B}" destId="{9CFD9C3C-606A-4AA9-98A4-2C10BD98187F}" srcOrd="8" destOrd="0" presId="urn:microsoft.com/office/officeart/2005/8/layout/process1"/>
    <dgm:cxn modelId="{AE43E79B-7B2A-4C67-B3CC-FB972C4FF72F}" type="presParOf" srcId="{3EA5C518-11EB-4D2C-8092-312B08A8547B}" destId="{9416B4E1-33DB-41D7-9C8D-1CB8E1CCF416}" srcOrd="9" destOrd="0" presId="urn:microsoft.com/office/officeart/2005/8/layout/process1"/>
    <dgm:cxn modelId="{D12981B3-9046-4E1A-A959-DDE1D133EB04}" type="presParOf" srcId="{9416B4E1-33DB-41D7-9C8D-1CB8E1CCF416}" destId="{82BAE45F-4E69-456E-995A-E241F5DF51B6}" srcOrd="0" destOrd="0" presId="urn:microsoft.com/office/officeart/2005/8/layout/process1"/>
    <dgm:cxn modelId="{35F2CAB8-B7FA-47E3-9699-09B84D5046FA}" type="presParOf" srcId="{3EA5C518-11EB-4D2C-8092-312B08A8547B}" destId="{E4B3985F-FB8F-4469-97B0-1F82E177C1C9}" srcOrd="10" destOrd="0" presId="urn:microsoft.com/office/officeart/2005/8/layout/process1"/>
    <dgm:cxn modelId="{C01C2814-47CA-46ED-8FBE-F7240B8F258E}" type="presParOf" srcId="{3EA5C518-11EB-4D2C-8092-312B08A8547B}" destId="{EA63E36F-0D92-4502-A0A6-2F2CBE3D1AB2}" srcOrd="11" destOrd="0" presId="urn:microsoft.com/office/officeart/2005/8/layout/process1"/>
    <dgm:cxn modelId="{8A113D38-3A12-45B6-BA48-A4BBEC06F2C7}" type="presParOf" srcId="{EA63E36F-0D92-4502-A0A6-2F2CBE3D1AB2}" destId="{367A7C23-8979-4D66-80EE-4A61DB17FE0E}" srcOrd="0" destOrd="0" presId="urn:microsoft.com/office/officeart/2005/8/layout/process1"/>
    <dgm:cxn modelId="{65E4D6C5-95BD-4709-81B7-9062FC5D9C63}" type="presParOf" srcId="{3EA5C518-11EB-4D2C-8092-312B08A8547B}" destId="{8ED338A9-C971-4263-AE8E-5F1450503848}" srcOrd="12" destOrd="0" presId="urn:microsoft.com/office/officeart/2005/8/layout/process1"/>
    <dgm:cxn modelId="{B99FF21A-A3C8-406A-A816-1FE6789F6796}" type="presParOf" srcId="{3EA5C518-11EB-4D2C-8092-312B08A8547B}" destId="{D040C85B-E296-4E29-9F2B-99DCF11F0937}" srcOrd="13" destOrd="0" presId="urn:microsoft.com/office/officeart/2005/8/layout/process1"/>
    <dgm:cxn modelId="{94437C36-266C-4F5A-AD13-EFD5BF8CADB8}" type="presParOf" srcId="{D040C85B-E296-4E29-9F2B-99DCF11F0937}" destId="{067DEAD1-77CE-4FF3-B4F9-39FCBDEE25E1}" srcOrd="0" destOrd="0" presId="urn:microsoft.com/office/officeart/2005/8/layout/process1"/>
    <dgm:cxn modelId="{E92AE864-7E95-4EBE-BFA5-85EE8C151171}" type="presParOf" srcId="{3EA5C518-11EB-4D2C-8092-312B08A8547B}" destId="{07AE541E-C2AA-40A3-84B5-09BFD090D7BF}" srcOrd="1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E17E74-AB73-4FF6-96EB-ECD69BAFB0AE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426DD9E0-6389-47A7-B650-8F2FD5BA7058}">
      <dgm:prSet phldrT="[Text]"/>
      <dgm:spPr/>
      <dgm:t>
        <a:bodyPr/>
        <a:lstStyle/>
        <a:p>
          <a:r>
            <a:rPr lang="en-US" dirty="0"/>
            <a:t>Increment Schedule for next Run</a:t>
          </a:r>
        </a:p>
      </dgm:t>
    </dgm:pt>
    <dgm:pt modelId="{913363C1-0F45-49FF-AC9B-D043F4E628AB}" type="parTrans" cxnId="{5D9928E8-EF1A-4FC1-BAB8-C9ACE1A987D5}">
      <dgm:prSet/>
      <dgm:spPr/>
      <dgm:t>
        <a:bodyPr/>
        <a:lstStyle/>
        <a:p>
          <a:endParaRPr lang="en-US"/>
        </a:p>
      </dgm:t>
    </dgm:pt>
    <dgm:pt modelId="{909A35AA-F309-43C4-8777-8C6063609F20}" type="sibTrans" cxnId="{5D9928E8-EF1A-4FC1-BAB8-C9ACE1A987D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rtlCol="0" anchor="ctr" anchorCtr="0"/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EC64E76F-1B14-4CA3-9F7E-D64D3C2A2BB9}">
      <dgm:prSet phldrT="[Text]"/>
      <dgm:spPr/>
      <dgm:t>
        <a:bodyPr/>
        <a:lstStyle/>
        <a:p>
          <a:r>
            <a:rPr lang="en-US" dirty="0"/>
            <a:t>Kill </a:t>
          </a:r>
          <a:r>
            <a:rPr lang="en-US" dirty="0" err="1"/>
            <a:t>Unisim</a:t>
          </a:r>
          <a:r>
            <a:rPr lang="en-US" dirty="0"/>
            <a:t> Process if </a:t>
          </a:r>
          <a:r>
            <a:rPr lang="en-US" dirty="0" err="1"/>
            <a:t>KeepProcess</a:t>
          </a:r>
          <a:r>
            <a:rPr lang="en-US" dirty="0"/>
            <a:t> False</a:t>
          </a:r>
        </a:p>
      </dgm:t>
    </dgm:pt>
    <dgm:pt modelId="{730EC631-8946-40C5-8120-8BEDE12C1DD2}" type="parTrans" cxnId="{F46A6166-5240-4B9B-AC50-2C4A18BDCB9C}">
      <dgm:prSet/>
      <dgm:spPr/>
      <dgm:t>
        <a:bodyPr/>
        <a:lstStyle/>
        <a:p>
          <a:endParaRPr lang="en-US"/>
        </a:p>
      </dgm:t>
    </dgm:pt>
    <dgm:pt modelId="{539A4158-EE58-48A0-89E0-F3ABA761B80F}" type="sibTrans" cxnId="{F46A6166-5240-4B9B-AC50-2C4A18BDCB9C}">
      <dgm:prSet/>
      <dgm:spPr/>
      <dgm:t>
        <a:bodyPr/>
        <a:lstStyle/>
        <a:p>
          <a:endParaRPr lang="en-US"/>
        </a:p>
      </dgm:t>
    </dgm:pt>
    <dgm:pt modelId="{E0D1117E-5171-4D46-9BF3-7B7A17CD7F3E}">
      <dgm:prSet phldrT="[Text]"/>
      <dgm:spPr/>
      <dgm:t>
        <a:bodyPr/>
        <a:lstStyle/>
        <a:p>
          <a:r>
            <a:rPr lang="en-US" dirty="0"/>
            <a:t>Run Solver</a:t>
          </a:r>
        </a:p>
      </dgm:t>
    </dgm:pt>
    <dgm:pt modelId="{42BDEEB1-6987-4523-A6D3-E7FCDC38AA8F}" type="parTrans" cxnId="{C1256445-70A3-4FC2-9035-850F8F765E60}">
      <dgm:prSet/>
      <dgm:spPr/>
      <dgm:t>
        <a:bodyPr/>
        <a:lstStyle/>
        <a:p>
          <a:endParaRPr lang="en-US"/>
        </a:p>
      </dgm:t>
    </dgm:pt>
    <dgm:pt modelId="{0FDEB8B6-424A-4F56-A9F2-1FB04FE003DF}" type="sibTrans" cxnId="{C1256445-70A3-4FC2-9035-850F8F765E60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05C26653-AB16-4D94-A300-EC11FEAD09DF}">
      <dgm:prSet phldrT="[Text]"/>
      <dgm:spPr/>
      <dgm:t>
        <a:bodyPr/>
        <a:lstStyle/>
        <a:p>
          <a:r>
            <a:rPr lang="en-US" dirty="0"/>
            <a:t>Generation of Output Snapshot .csv &amp; .</a:t>
          </a:r>
          <a:r>
            <a:rPr lang="en-US" dirty="0" err="1"/>
            <a:t>usp</a:t>
          </a:r>
          <a:endParaRPr lang="en-US" dirty="0"/>
        </a:p>
        <a:p>
          <a:endParaRPr lang="en-US" dirty="0"/>
        </a:p>
      </dgm:t>
    </dgm:pt>
    <dgm:pt modelId="{94B92D5C-7866-4CB6-8830-8E08B94071DF}" type="parTrans" cxnId="{CBB5D434-FF77-47EF-BFF4-10D21217EF13}">
      <dgm:prSet/>
      <dgm:spPr/>
      <dgm:t>
        <a:bodyPr/>
        <a:lstStyle/>
        <a:p>
          <a:endParaRPr lang="en-US"/>
        </a:p>
      </dgm:t>
    </dgm:pt>
    <dgm:pt modelId="{51532342-96B4-4F56-B84C-5F0060E9D564}" type="sibTrans" cxnId="{CBB5D434-FF77-47EF-BFF4-10D21217EF13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994F901-A4F4-4BF3-8DB0-416205603C46}">
      <dgm:prSet phldrT="[Text]" custT="1"/>
      <dgm:spPr>
        <a:solidFill>
          <a:srgbClr val="E0E0E0">
            <a:lumMod val="9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Fetching</a:t>
          </a:r>
          <a:r>
            <a:rPr lang="en-US" sz="1100" kern="1200" dirty="0"/>
            <a:t> of the Values Input Values  for USD Input PDT</a:t>
          </a:r>
        </a:p>
      </dgm:t>
    </dgm:pt>
    <dgm:pt modelId="{9C24EB96-B23E-4980-8FAC-AA74AE769802}" type="sibTrans" cxnId="{8B635680-1054-4386-8F4B-65F2962ABB55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BC4D776D-F347-4414-B1F4-AF346A48F72B}" type="parTrans" cxnId="{8B635680-1054-4386-8F4B-65F2962ABB55}">
      <dgm:prSet/>
      <dgm:spPr/>
      <dgm:t>
        <a:bodyPr/>
        <a:lstStyle/>
        <a:p>
          <a:endParaRPr lang="en-US"/>
        </a:p>
      </dgm:t>
    </dgm:pt>
    <dgm:pt modelId="{03471681-4279-4C09-BB75-0742797532E7}">
      <dgm:prSet phldrT="[Text]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dirty="0"/>
            <a:t>Scheduling of the Orchestration Service</a:t>
          </a:r>
        </a:p>
      </dgm:t>
    </dgm:pt>
    <dgm:pt modelId="{91C8FF75-150B-47C3-9247-0842596A896B}" type="sibTrans" cxnId="{9E7035BD-F30D-44CF-894B-7FAF5E2C6675}">
      <dgm:prSet/>
      <dgm:spPr>
        <a:solidFill>
          <a:srgbClr val="404040"/>
        </a:solidFill>
      </dgm:spPr>
      <dgm:t>
        <a:bodyPr/>
        <a:lstStyle/>
        <a:p>
          <a:endParaRPr lang="en-US"/>
        </a:p>
      </dgm:t>
    </dgm:pt>
    <dgm:pt modelId="{534A9F47-5BED-425E-80B1-9F636B80D88B}" type="parTrans" cxnId="{9E7035BD-F30D-44CF-894B-7FAF5E2C6675}">
      <dgm:prSet/>
      <dgm:spPr/>
      <dgm:t>
        <a:bodyPr/>
        <a:lstStyle/>
        <a:p>
          <a:endParaRPr lang="en-US"/>
        </a:p>
      </dgm:t>
    </dgm:pt>
    <dgm:pt modelId="{FC637A2C-F7D9-4716-87BB-48A35712AA51}">
      <dgm:prSet phldrT="[Text]" custT="1"/>
      <dgm:spPr>
        <a:solidFill>
          <a:srgbClr val="E0E0E0">
            <a:lumMod val="9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910" tIns="41910" rIns="41910" bIns="41910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eady Check</a:t>
          </a:r>
        </a:p>
      </dgm:t>
    </dgm:pt>
    <dgm:pt modelId="{794DF3C9-085C-4B7D-BBFB-72DD03E4FAE0}" type="parTrans" cxnId="{9784A006-E49B-440A-BADA-A17F447391A7}">
      <dgm:prSet/>
      <dgm:spPr/>
      <dgm:t>
        <a:bodyPr/>
        <a:lstStyle/>
        <a:p>
          <a:endParaRPr lang="en-US"/>
        </a:p>
      </dgm:t>
    </dgm:pt>
    <dgm:pt modelId="{D780B16A-6A01-4DB5-B4F0-01D256CF4A84}" type="sibTrans" cxnId="{9784A006-E49B-440A-BADA-A17F447391A7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48BF9A4F-826A-48F6-9AD3-1F0F0D092056}">
      <dgm:prSet phldrT="[Text]"/>
      <dgm:spPr/>
      <dgm:t>
        <a:bodyPr/>
        <a:lstStyle/>
        <a:p>
          <a:r>
            <a:rPr lang="en-US" dirty="0"/>
            <a:t>Generation of Input Snapshot .csv &amp; .</a:t>
          </a:r>
          <a:r>
            <a:rPr lang="en-US" dirty="0" err="1"/>
            <a:t>usp</a:t>
          </a:r>
          <a:endParaRPr lang="en-US" dirty="0"/>
        </a:p>
      </dgm:t>
    </dgm:pt>
    <dgm:pt modelId="{C84D108D-9493-4804-AB69-B27B7DFD4B85}" type="parTrans" cxnId="{01D37D48-45CF-400B-A5EE-10072DB6A608}">
      <dgm:prSet/>
      <dgm:spPr/>
      <dgm:t>
        <a:bodyPr/>
        <a:lstStyle/>
        <a:p>
          <a:endParaRPr lang="en-US"/>
        </a:p>
      </dgm:t>
    </dgm:pt>
    <dgm:pt modelId="{E1810FFF-9847-42CA-BCEF-93C1DE95BB7A}" type="sibTrans" cxnId="{01D37D48-45CF-400B-A5EE-10072DB6A608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EA5C518-11EB-4D2C-8092-312B08A8547B}" type="pres">
      <dgm:prSet presAssocID="{66E17E74-AB73-4FF6-96EB-ECD69BAFB0AE}" presName="Name0" presStyleCnt="0">
        <dgm:presLayoutVars>
          <dgm:dir/>
          <dgm:resizeHandles val="exact"/>
        </dgm:presLayoutVars>
      </dgm:prSet>
      <dgm:spPr/>
    </dgm:pt>
    <dgm:pt modelId="{8749287A-CC6E-487C-B3BE-534EE328D5F1}" type="pres">
      <dgm:prSet presAssocID="{03471681-4279-4C09-BB75-0742797532E7}" presName="node" presStyleLbl="node1" presStyleIdx="0" presStyleCnt="8">
        <dgm:presLayoutVars>
          <dgm:bulletEnabled val="1"/>
        </dgm:presLayoutVars>
      </dgm:prSet>
      <dgm:spPr/>
    </dgm:pt>
    <dgm:pt modelId="{41B46D50-E655-4EE4-A14C-4B50AB9E230A}" type="pres">
      <dgm:prSet presAssocID="{91C8FF75-150B-47C3-9247-0842596A896B}" presName="sibTrans" presStyleLbl="sibTrans2D1" presStyleIdx="0" presStyleCnt="7" custScaleX="184656"/>
      <dgm:spPr/>
    </dgm:pt>
    <dgm:pt modelId="{3FF98395-AFEC-48B3-BB6C-A4AC5C1D730C}" type="pres">
      <dgm:prSet presAssocID="{91C8FF75-150B-47C3-9247-0842596A896B}" presName="connectorText" presStyleLbl="sibTrans2D1" presStyleIdx="0" presStyleCnt="7"/>
      <dgm:spPr/>
    </dgm:pt>
    <dgm:pt modelId="{320A4903-99F2-4A61-80F9-519799B5466D}" type="pres">
      <dgm:prSet presAssocID="{FC637A2C-F7D9-4716-87BB-48A35712AA51}" presName="node" presStyleLbl="node1" presStyleIdx="1" presStyleCnt="8">
        <dgm:presLayoutVars>
          <dgm:bulletEnabled val="1"/>
        </dgm:presLayoutVars>
      </dgm:prSet>
      <dgm:spPr>
        <a:xfrm>
          <a:off x="1454869" y="1777768"/>
          <a:ext cx="1036457" cy="932223"/>
        </a:xfrm>
        <a:prstGeom prst="roundRect">
          <a:avLst>
            <a:gd name="adj" fmla="val 10000"/>
          </a:avLst>
        </a:prstGeom>
      </dgm:spPr>
    </dgm:pt>
    <dgm:pt modelId="{48F0DB3F-CED0-4A30-84C3-F74402984B33}" type="pres">
      <dgm:prSet presAssocID="{D780B16A-6A01-4DB5-B4F0-01D256CF4A84}" presName="sibTrans" presStyleLbl="sibTrans2D1" presStyleIdx="1" presStyleCnt="7" custScaleX="187316"/>
      <dgm:spPr>
        <a:xfrm>
          <a:off x="2594972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F984739F-52BF-4B5A-96A1-1D703DA4AADA}" type="pres">
      <dgm:prSet presAssocID="{D780B16A-6A01-4DB5-B4F0-01D256CF4A84}" presName="connectorText" presStyleLbl="sibTrans2D1" presStyleIdx="1" presStyleCnt="7"/>
      <dgm:spPr/>
    </dgm:pt>
    <dgm:pt modelId="{816EB92E-FBC1-4097-8DCC-B2FE6ED0186C}" type="pres">
      <dgm:prSet presAssocID="{3994F901-A4F4-4BF3-8DB0-416205603C46}" presName="node" presStyleLbl="node1" presStyleIdx="2" presStyleCnt="8">
        <dgm:presLayoutVars>
          <dgm:bulletEnabled val="1"/>
        </dgm:presLayoutVars>
      </dgm:prSet>
      <dgm:spPr>
        <a:xfrm>
          <a:off x="2905910" y="1777768"/>
          <a:ext cx="1036457" cy="932223"/>
        </a:xfrm>
        <a:prstGeom prst="roundRect">
          <a:avLst>
            <a:gd name="adj" fmla="val 10000"/>
          </a:avLst>
        </a:prstGeom>
      </dgm:spPr>
    </dgm:pt>
    <dgm:pt modelId="{5D611C59-4288-402C-8A6B-543EC43B3EEA}" type="pres">
      <dgm:prSet presAssocID="{9C24EB96-B23E-4980-8FAC-AA74AE769802}" presName="sibTrans" presStyleLbl="sibTrans2D1" presStyleIdx="2" presStyleCnt="7" custScaleX="209129"/>
      <dgm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D0880986-A72C-4885-AFCC-2F80D9B62971}" type="pres">
      <dgm:prSet presAssocID="{9C24EB96-B23E-4980-8FAC-AA74AE769802}" presName="connectorText" presStyleLbl="sibTrans2D1" presStyleIdx="2" presStyleCnt="7"/>
      <dgm:spPr/>
    </dgm:pt>
    <dgm:pt modelId="{F1A7AAB0-F43B-42C8-B704-4266D2D7ADEA}" type="pres">
      <dgm:prSet presAssocID="{48BF9A4F-826A-48F6-9AD3-1F0F0D092056}" presName="node" presStyleLbl="node1" presStyleIdx="3" presStyleCnt="8">
        <dgm:presLayoutVars>
          <dgm:bulletEnabled val="1"/>
        </dgm:presLayoutVars>
      </dgm:prSet>
      <dgm:spPr/>
    </dgm:pt>
    <dgm:pt modelId="{616F52CE-0D12-42DE-A96D-EA1BA4BF062C}" type="pres">
      <dgm:prSet presAssocID="{E1810FFF-9847-42CA-BCEF-93C1DE95BB7A}" presName="sibTrans" presStyleLbl="sibTrans2D1" presStyleIdx="3" presStyleCnt="7" custScaleX="187780"/>
      <dgm:spPr>
        <a:xfrm>
          <a:off x="5497054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EAEB3B28-2060-4EEF-9864-F9604971277A}" type="pres">
      <dgm:prSet presAssocID="{E1810FFF-9847-42CA-BCEF-93C1DE95BB7A}" presName="connectorText" presStyleLbl="sibTrans2D1" presStyleIdx="3" presStyleCnt="7"/>
      <dgm:spPr/>
    </dgm:pt>
    <dgm:pt modelId="{9CFD9C3C-606A-4AA9-98A4-2C10BD98187F}" type="pres">
      <dgm:prSet presAssocID="{E0D1117E-5171-4D46-9BF3-7B7A17CD7F3E}" presName="node" presStyleLbl="node1" presStyleIdx="4" presStyleCnt="8">
        <dgm:presLayoutVars>
          <dgm:bulletEnabled val="1"/>
        </dgm:presLayoutVars>
      </dgm:prSet>
      <dgm:spPr/>
    </dgm:pt>
    <dgm:pt modelId="{9416B4E1-33DB-41D7-9C8D-1CB8E1CCF416}" type="pres">
      <dgm:prSet presAssocID="{0FDEB8B6-424A-4F56-A9F2-1FB04FE003DF}" presName="sibTrans" presStyleLbl="sibTrans2D1" presStyleIdx="4" presStyleCnt="7" custScaleX="201604"/>
      <dgm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82BAE45F-4E69-456E-995A-E241F5DF51B6}" type="pres">
      <dgm:prSet presAssocID="{0FDEB8B6-424A-4F56-A9F2-1FB04FE003DF}" presName="connectorText" presStyleLbl="sibTrans2D1" presStyleIdx="4" presStyleCnt="7"/>
      <dgm:spPr/>
    </dgm:pt>
    <dgm:pt modelId="{E4B3985F-FB8F-4469-97B0-1F82E177C1C9}" type="pres">
      <dgm:prSet presAssocID="{05C26653-AB16-4D94-A300-EC11FEAD09DF}" presName="node" presStyleLbl="node1" presStyleIdx="5" presStyleCnt="8">
        <dgm:presLayoutVars>
          <dgm:bulletEnabled val="1"/>
        </dgm:presLayoutVars>
      </dgm:prSet>
      <dgm:spPr/>
    </dgm:pt>
    <dgm:pt modelId="{EA63E36F-0D92-4502-A0A6-2F2CBE3D1AB2}" type="pres">
      <dgm:prSet presAssocID="{51532342-96B4-4F56-B84C-5F0060E9D564}" presName="sibTrans" presStyleLbl="sibTrans2D1" presStyleIdx="5" presStyleCnt="7" custScaleX="177123"/>
      <dgm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367A7C23-8979-4D66-80EE-4A61DB17FE0E}" type="pres">
      <dgm:prSet presAssocID="{51532342-96B4-4F56-B84C-5F0060E9D564}" presName="connectorText" presStyleLbl="sibTrans2D1" presStyleIdx="5" presStyleCnt="7"/>
      <dgm:spPr/>
    </dgm:pt>
    <dgm:pt modelId="{8ED338A9-C971-4263-AE8E-5F1450503848}" type="pres">
      <dgm:prSet presAssocID="{426DD9E0-6389-47A7-B650-8F2FD5BA7058}" presName="node" presStyleLbl="node1" presStyleIdx="6" presStyleCnt="8">
        <dgm:presLayoutVars>
          <dgm:bulletEnabled val="1"/>
        </dgm:presLayoutVars>
      </dgm:prSet>
      <dgm:spPr/>
    </dgm:pt>
    <dgm:pt modelId="{D040C85B-E296-4E29-9F2B-99DCF11F0937}" type="pres">
      <dgm:prSet presAssocID="{909A35AA-F309-43C4-8777-8C6063609F20}" presName="sibTrans" presStyleLbl="sibTrans2D1" presStyleIdx="6" presStyleCnt="7" custScaleX="203512"/>
      <dgm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067DEAD1-77CE-4FF3-B4F9-39FCBDEE25E1}" type="pres">
      <dgm:prSet presAssocID="{909A35AA-F309-43C4-8777-8C6063609F20}" presName="connectorText" presStyleLbl="sibTrans2D1" presStyleIdx="6" presStyleCnt="7"/>
      <dgm:spPr/>
    </dgm:pt>
    <dgm:pt modelId="{07AE541E-C2AA-40A3-84B5-09BFD090D7BF}" type="pres">
      <dgm:prSet presAssocID="{EC64E76F-1B14-4CA3-9F7E-D64D3C2A2BB9}" presName="node" presStyleLbl="node1" presStyleIdx="7" presStyleCnt="8">
        <dgm:presLayoutVars>
          <dgm:bulletEnabled val="1"/>
        </dgm:presLayoutVars>
      </dgm:prSet>
      <dgm:spPr/>
    </dgm:pt>
  </dgm:ptLst>
  <dgm:cxnLst>
    <dgm:cxn modelId="{9784A006-E49B-440A-BADA-A17F447391A7}" srcId="{66E17E74-AB73-4FF6-96EB-ECD69BAFB0AE}" destId="{FC637A2C-F7D9-4716-87BB-48A35712AA51}" srcOrd="1" destOrd="0" parTransId="{794DF3C9-085C-4B7D-BBFB-72DD03E4FAE0}" sibTransId="{D780B16A-6A01-4DB5-B4F0-01D256CF4A84}"/>
    <dgm:cxn modelId="{A4EE7F23-891A-45D7-B3FE-FB1DFCB570FC}" type="presOf" srcId="{51532342-96B4-4F56-B84C-5F0060E9D564}" destId="{367A7C23-8979-4D66-80EE-4A61DB17FE0E}" srcOrd="1" destOrd="0" presId="urn:microsoft.com/office/officeart/2005/8/layout/process1"/>
    <dgm:cxn modelId="{1C6E6F24-4967-4B2E-A220-DA4B02C8C352}" type="presOf" srcId="{0FDEB8B6-424A-4F56-A9F2-1FB04FE003DF}" destId="{82BAE45F-4E69-456E-995A-E241F5DF51B6}" srcOrd="1" destOrd="0" presId="urn:microsoft.com/office/officeart/2005/8/layout/process1"/>
    <dgm:cxn modelId="{F61FFC27-A021-4522-A13C-EE51EDF84E00}" type="presOf" srcId="{909A35AA-F309-43C4-8777-8C6063609F20}" destId="{067DEAD1-77CE-4FF3-B4F9-39FCBDEE25E1}" srcOrd="1" destOrd="0" presId="urn:microsoft.com/office/officeart/2005/8/layout/process1"/>
    <dgm:cxn modelId="{CBB5D434-FF77-47EF-BFF4-10D21217EF13}" srcId="{66E17E74-AB73-4FF6-96EB-ECD69BAFB0AE}" destId="{05C26653-AB16-4D94-A300-EC11FEAD09DF}" srcOrd="5" destOrd="0" parTransId="{94B92D5C-7866-4CB6-8830-8E08B94071DF}" sibTransId="{51532342-96B4-4F56-B84C-5F0060E9D564}"/>
    <dgm:cxn modelId="{B9239A3F-4E73-4BA3-B015-0543FE748B8C}" type="presOf" srcId="{9C24EB96-B23E-4980-8FAC-AA74AE769802}" destId="{D0880986-A72C-4885-AFCC-2F80D9B62971}" srcOrd="1" destOrd="0" presId="urn:microsoft.com/office/officeart/2005/8/layout/process1"/>
    <dgm:cxn modelId="{F9BF6D43-4358-4631-8C03-1307DB55E5E8}" type="presOf" srcId="{D780B16A-6A01-4DB5-B4F0-01D256CF4A84}" destId="{F984739F-52BF-4B5A-96A1-1D703DA4AADA}" srcOrd="1" destOrd="0" presId="urn:microsoft.com/office/officeart/2005/8/layout/process1"/>
    <dgm:cxn modelId="{1C16A144-DA8A-4E49-A177-91FF647E2998}" type="presOf" srcId="{66E17E74-AB73-4FF6-96EB-ECD69BAFB0AE}" destId="{3EA5C518-11EB-4D2C-8092-312B08A8547B}" srcOrd="0" destOrd="0" presId="urn:microsoft.com/office/officeart/2005/8/layout/process1"/>
    <dgm:cxn modelId="{C1256445-70A3-4FC2-9035-850F8F765E60}" srcId="{66E17E74-AB73-4FF6-96EB-ECD69BAFB0AE}" destId="{E0D1117E-5171-4D46-9BF3-7B7A17CD7F3E}" srcOrd="4" destOrd="0" parTransId="{42BDEEB1-6987-4523-A6D3-E7FCDC38AA8F}" sibTransId="{0FDEB8B6-424A-4F56-A9F2-1FB04FE003DF}"/>
    <dgm:cxn modelId="{F46A6166-5240-4B9B-AC50-2C4A18BDCB9C}" srcId="{66E17E74-AB73-4FF6-96EB-ECD69BAFB0AE}" destId="{EC64E76F-1B14-4CA3-9F7E-D64D3C2A2BB9}" srcOrd="7" destOrd="0" parTransId="{730EC631-8946-40C5-8120-8BEDE12C1DD2}" sibTransId="{539A4158-EE58-48A0-89E0-F3ABA761B80F}"/>
    <dgm:cxn modelId="{01D37D48-45CF-400B-A5EE-10072DB6A608}" srcId="{66E17E74-AB73-4FF6-96EB-ECD69BAFB0AE}" destId="{48BF9A4F-826A-48F6-9AD3-1F0F0D092056}" srcOrd="3" destOrd="0" parTransId="{C84D108D-9493-4804-AB69-B27B7DFD4B85}" sibTransId="{E1810FFF-9847-42CA-BCEF-93C1DE95BB7A}"/>
    <dgm:cxn modelId="{CEC38A68-7431-4875-82E9-0009F7302641}" type="presOf" srcId="{909A35AA-F309-43C4-8777-8C6063609F20}" destId="{D040C85B-E296-4E29-9F2B-99DCF11F0937}" srcOrd="0" destOrd="0" presId="urn:microsoft.com/office/officeart/2005/8/layout/process1"/>
    <dgm:cxn modelId="{8F9EB14C-895F-423E-8D63-5E72C1CFF517}" type="presOf" srcId="{0FDEB8B6-424A-4F56-A9F2-1FB04FE003DF}" destId="{9416B4E1-33DB-41D7-9C8D-1CB8E1CCF416}" srcOrd="0" destOrd="0" presId="urn:microsoft.com/office/officeart/2005/8/layout/process1"/>
    <dgm:cxn modelId="{3C902372-BA4D-472B-8CFF-D180E636F723}" type="presOf" srcId="{48BF9A4F-826A-48F6-9AD3-1F0F0D092056}" destId="{F1A7AAB0-F43B-42C8-B704-4266D2D7ADEA}" srcOrd="0" destOrd="0" presId="urn:microsoft.com/office/officeart/2005/8/layout/process1"/>
    <dgm:cxn modelId="{BB78A477-4266-401A-ADE4-C76E2A9F6D98}" type="presOf" srcId="{E1810FFF-9847-42CA-BCEF-93C1DE95BB7A}" destId="{616F52CE-0D12-42DE-A96D-EA1BA4BF062C}" srcOrd="0" destOrd="0" presId="urn:microsoft.com/office/officeart/2005/8/layout/process1"/>
    <dgm:cxn modelId="{8B635680-1054-4386-8F4B-65F2962ABB55}" srcId="{66E17E74-AB73-4FF6-96EB-ECD69BAFB0AE}" destId="{3994F901-A4F4-4BF3-8DB0-416205603C46}" srcOrd="2" destOrd="0" parTransId="{BC4D776D-F347-4414-B1F4-AF346A48F72B}" sibTransId="{9C24EB96-B23E-4980-8FAC-AA74AE769802}"/>
    <dgm:cxn modelId="{347AD388-26C1-4CAA-9B39-99C4E9E2B236}" type="presOf" srcId="{EC64E76F-1B14-4CA3-9F7E-D64D3C2A2BB9}" destId="{07AE541E-C2AA-40A3-84B5-09BFD090D7BF}" srcOrd="0" destOrd="0" presId="urn:microsoft.com/office/officeart/2005/8/layout/process1"/>
    <dgm:cxn modelId="{DA42A8A2-2010-498D-8344-A419FF36D9D9}" type="presOf" srcId="{426DD9E0-6389-47A7-B650-8F2FD5BA7058}" destId="{8ED338A9-C971-4263-AE8E-5F1450503848}" srcOrd="0" destOrd="0" presId="urn:microsoft.com/office/officeart/2005/8/layout/process1"/>
    <dgm:cxn modelId="{4671F1A6-6D9C-4211-81C6-124591D13DE6}" type="presOf" srcId="{D780B16A-6A01-4DB5-B4F0-01D256CF4A84}" destId="{48F0DB3F-CED0-4A30-84C3-F74402984B33}" srcOrd="0" destOrd="0" presId="urn:microsoft.com/office/officeart/2005/8/layout/process1"/>
    <dgm:cxn modelId="{E12AA9B1-62D5-4876-9203-58BE012B5040}" type="presOf" srcId="{03471681-4279-4C09-BB75-0742797532E7}" destId="{8749287A-CC6E-487C-B3BE-534EE328D5F1}" srcOrd="0" destOrd="0" presId="urn:microsoft.com/office/officeart/2005/8/layout/process1"/>
    <dgm:cxn modelId="{86DE3BB3-3E0A-4306-B1E8-2D449ABFCD7A}" type="presOf" srcId="{9C24EB96-B23E-4980-8FAC-AA74AE769802}" destId="{5D611C59-4288-402C-8A6B-543EC43B3EEA}" srcOrd="0" destOrd="0" presId="urn:microsoft.com/office/officeart/2005/8/layout/process1"/>
    <dgm:cxn modelId="{9E7035BD-F30D-44CF-894B-7FAF5E2C6675}" srcId="{66E17E74-AB73-4FF6-96EB-ECD69BAFB0AE}" destId="{03471681-4279-4C09-BB75-0742797532E7}" srcOrd="0" destOrd="0" parTransId="{534A9F47-5BED-425E-80B1-9F636B80D88B}" sibTransId="{91C8FF75-150B-47C3-9247-0842596A896B}"/>
    <dgm:cxn modelId="{89EBEEC9-1372-4E7F-91B5-2C2199FE6171}" type="presOf" srcId="{E1810FFF-9847-42CA-BCEF-93C1DE95BB7A}" destId="{EAEB3B28-2060-4EEF-9864-F9604971277A}" srcOrd="1" destOrd="0" presId="urn:microsoft.com/office/officeart/2005/8/layout/process1"/>
    <dgm:cxn modelId="{9DD21CCB-4BE8-4914-BCF4-450AE5F18B57}" type="presOf" srcId="{51532342-96B4-4F56-B84C-5F0060E9D564}" destId="{EA63E36F-0D92-4502-A0A6-2F2CBE3D1AB2}" srcOrd="0" destOrd="0" presId="urn:microsoft.com/office/officeart/2005/8/layout/process1"/>
    <dgm:cxn modelId="{79A12AE2-EC76-43F0-B440-F79D2A169FB4}" type="presOf" srcId="{91C8FF75-150B-47C3-9247-0842596A896B}" destId="{3FF98395-AFEC-48B3-BB6C-A4AC5C1D730C}" srcOrd="1" destOrd="0" presId="urn:microsoft.com/office/officeart/2005/8/layout/process1"/>
    <dgm:cxn modelId="{856DBBE4-A507-4390-9858-41C370EB8DFE}" type="presOf" srcId="{05C26653-AB16-4D94-A300-EC11FEAD09DF}" destId="{E4B3985F-FB8F-4469-97B0-1F82E177C1C9}" srcOrd="0" destOrd="0" presId="urn:microsoft.com/office/officeart/2005/8/layout/process1"/>
    <dgm:cxn modelId="{5D9928E8-EF1A-4FC1-BAB8-C9ACE1A987D5}" srcId="{66E17E74-AB73-4FF6-96EB-ECD69BAFB0AE}" destId="{426DD9E0-6389-47A7-B650-8F2FD5BA7058}" srcOrd="6" destOrd="0" parTransId="{913363C1-0F45-49FF-AC9B-D043F4E628AB}" sibTransId="{909A35AA-F309-43C4-8777-8C6063609F20}"/>
    <dgm:cxn modelId="{DA3B87E8-43C7-486B-B2E9-DF75804DCC13}" type="presOf" srcId="{FC637A2C-F7D9-4716-87BB-48A35712AA51}" destId="{320A4903-99F2-4A61-80F9-519799B5466D}" srcOrd="0" destOrd="0" presId="urn:microsoft.com/office/officeart/2005/8/layout/process1"/>
    <dgm:cxn modelId="{6EE766F0-3586-44BE-AF09-291E22F43266}" type="presOf" srcId="{91C8FF75-150B-47C3-9247-0842596A896B}" destId="{41B46D50-E655-4EE4-A14C-4B50AB9E230A}" srcOrd="0" destOrd="0" presId="urn:microsoft.com/office/officeart/2005/8/layout/process1"/>
    <dgm:cxn modelId="{082919F2-2214-4F6F-A1BB-654CD5F52D3B}" type="presOf" srcId="{E0D1117E-5171-4D46-9BF3-7B7A17CD7F3E}" destId="{9CFD9C3C-606A-4AA9-98A4-2C10BD98187F}" srcOrd="0" destOrd="0" presId="urn:microsoft.com/office/officeart/2005/8/layout/process1"/>
    <dgm:cxn modelId="{602004FA-7166-4069-9466-35BB3F452DB8}" type="presOf" srcId="{3994F901-A4F4-4BF3-8DB0-416205603C46}" destId="{816EB92E-FBC1-4097-8DCC-B2FE6ED0186C}" srcOrd="0" destOrd="0" presId="urn:microsoft.com/office/officeart/2005/8/layout/process1"/>
    <dgm:cxn modelId="{77968500-8587-4773-BA0D-61967BA5B046}" type="presParOf" srcId="{3EA5C518-11EB-4D2C-8092-312B08A8547B}" destId="{8749287A-CC6E-487C-B3BE-534EE328D5F1}" srcOrd="0" destOrd="0" presId="urn:microsoft.com/office/officeart/2005/8/layout/process1"/>
    <dgm:cxn modelId="{28839EE9-63A8-4AFA-80D6-B9FDA54C8A66}" type="presParOf" srcId="{3EA5C518-11EB-4D2C-8092-312B08A8547B}" destId="{41B46D50-E655-4EE4-A14C-4B50AB9E230A}" srcOrd="1" destOrd="0" presId="urn:microsoft.com/office/officeart/2005/8/layout/process1"/>
    <dgm:cxn modelId="{4422C2D8-3337-4F9A-BCC9-A8A2B9CFB9E4}" type="presParOf" srcId="{41B46D50-E655-4EE4-A14C-4B50AB9E230A}" destId="{3FF98395-AFEC-48B3-BB6C-A4AC5C1D730C}" srcOrd="0" destOrd="0" presId="urn:microsoft.com/office/officeart/2005/8/layout/process1"/>
    <dgm:cxn modelId="{D76F8534-25EA-499E-A83E-A27262929518}" type="presParOf" srcId="{3EA5C518-11EB-4D2C-8092-312B08A8547B}" destId="{320A4903-99F2-4A61-80F9-519799B5466D}" srcOrd="2" destOrd="0" presId="urn:microsoft.com/office/officeart/2005/8/layout/process1"/>
    <dgm:cxn modelId="{2995158F-2C86-4C7D-8F82-08D46F03EE6F}" type="presParOf" srcId="{3EA5C518-11EB-4D2C-8092-312B08A8547B}" destId="{48F0DB3F-CED0-4A30-84C3-F74402984B33}" srcOrd="3" destOrd="0" presId="urn:microsoft.com/office/officeart/2005/8/layout/process1"/>
    <dgm:cxn modelId="{4A134B5C-72C8-4A62-B7FD-3596D1FE3075}" type="presParOf" srcId="{48F0DB3F-CED0-4A30-84C3-F74402984B33}" destId="{F984739F-52BF-4B5A-96A1-1D703DA4AADA}" srcOrd="0" destOrd="0" presId="urn:microsoft.com/office/officeart/2005/8/layout/process1"/>
    <dgm:cxn modelId="{31FE913A-BD68-4339-BF0C-B0D348FD104A}" type="presParOf" srcId="{3EA5C518-11EB-4D2C-8092-312B08A8547B}" destId="{816EB92E-FBC1-4097-8DCC-B2FE6ED0186C}" srcOrd="4" destOrd="0" presId="urn:microsoft.com/office/officeart/2005/8/layout/process1"/>
    <dgm:cxn modelId="{1F82DE9B-869F-4E93-8EFC-23E214836F26}" type="presParOf" srcId="{3EA5C518-11EB-4D2C-8092-312B08A8547B}" destId="{5D611C59-4288-402C-8A6B-543EC43B3EEA}" srcOrd="5" destOrd="0" presId="urn:microsoft.com/office/officeart/2005/8/layout/process1"/>
    <dgm:cxn modelId="{225DC84B-DD70-4F5B-9A10-7F55169A1684}" type="presParOf" srcId="{5D611C59-4288-402C-8A6B-543EC43B3EEA}" destId="{D0880986-A72C-4885-AFCC-2F80D9B62971}" srcOrd="0" destOrd="0" presId="urn:microsoft.com/office/officeart/2005/8/layout/process1"/>
    <dgm:cxn modelId="{06155F3D-7AE6-475F-B485-3466EFB66F8E}" type="presParOf" srcId="{3EA5C518-11EB-4D2C-8092-312B08A8547B}" destId="{F1A7AAB0-F43B-42C8-B704-4266D2D7ADEA}" srcOrd="6" destOrd="0" presId="urn:microsoft.com/office/officeart/2005/8/layout/process1"/>
    <dgm:cxn modelId="{A9A1A591-1C3F-4F31-A935-CD49AF3A2453}" type="presParOf" srcId="{3EA5C518-11EB-4D2C-8092-312B08A8547B}" destId="{616F52CE-0D12-42DE-A96D-EA1BA4BF062C}" srcOrd="7" destOrd="0" presId="urn:microsoft.com/office/officeart/2005/8/layout/process1"/>
    <dgm:cxn modelId="{56476DF5-6B35-42D1-9682-DE51EEB0DA34}" type="presParOf" srcId="{616F52CE-0D12-42DE-A96D-EA1BA4BF062C}" destId="{EAEB3B28-2060-4EEF-9864-F9604971277A}" srcOrd="0" destOrd="0" presId="urn:microsoft.com/office/officeart/2005/8/layout/process1"/>
    <dgm:cxn modelId="{A68F8530-A744-47AC-A98A-E0BFCC074888}" type="presParOf" srcId="{3EA5C518-11EB-4D2C-8092-312B08A8547B}" destId="{9CFD9C3C-606A-4AA9-98A4-2C10BD98187F}" srcOrd="8" destOrd="0" presId="urn:microsoft.com/office/officeart/2005/8/layout/process1"/>
    <dgm:cxn modelId="{AE43E79B-7B2A-4C67-B3CC-FB972C4FF72F}" type="presParOf" srcId="{3EA5C518-11EB-4D2C-8092-312B08A8547B}" destId="{9416B4E1-33DB-41D7-9C8D-1CB8E1CCF416}" srcOrd="9" destOrd="0" presId="urn:microsoft.com/office/officeart/2005/8/layout/process1"/>
    <dgm:cxn modelId="{D12981B3-9046-4E1A-A959-DDE1D133EB04}" type="presParOf" srcId="{9416B4E1-33DB-41D7-9C8D-1CB8E1CCF416}" destId="{82BAE45F-4E69-456E-995A-E241F5DF51B6}" srcOrd="0" destOrd="0" presId="urn:microsoft.com/office/officeart/2005/8/layout/process1"/>
    <dgm:cxn modelId="{35F2CAB8-B7FA-47E3-9699-09B84D5046FA}" type="presParOf" srcId="{3EA5C518-11EB-4D2C-8092-312B08A8547B}" destId="{E4B3985F-FB8F-4469-97B0-1F82E177C1C9}" srcOrd="10" destOrd="0" presId="urn:microsoft.com/office/officeart/2005/8/layout/process1"/>
    <dgm:cxn modelId="{C01C2814-47CA-46ED-8FBE-F7240B8F258E}" type="presParOf" srcId="{3EA5C518-11EB-4D2C-8092-312B08A8547B}" destId="{EA63E36F-0D92-4502-A0A6-2F2CBE3D1AB2}" srcOrd="11" destOrd="0" presId="urn:microsoft.com/office/officeart/2005/8/layout/process1"/>
    <dgm:cxn modelId="{8A113D38-3A12-45B6-BA48-A4BBEC06F2C7}" type="presParOf" srcId="{EA63E36F-0D92-4502-A0A6-2F2CBE3D1AB2}" destId="{367A7C23-8979-4D66-80EE-4A61DB17FE0E}" srcOrd="0" destOrd="0" presId="urn:microsoft.com/office/officeart/2005/8/layout/process1"/>
    <dgm:cxn modelId="{65E4D6C5-95BD-4709-81B7-9062FC5D9C63}" type="presParOf" srcId="{3EA5C518-11EB-4D2C-8092-312B08A8547B}" destId="{8ED338A9-C971-4263-AE8E-5F1450503848}" srcOrd="12" destOrd="0" presId="urn:microsoft.com/office/officeart/2005/8/layout/process1"/>
    <dgm:cxn modelId="{B99FF21A-A3C8-406A-A816-1FE6789F6796}" type="presParOf" srcId="{3EA5C518-11EB-4D2C-8092-312B08A8547B}" destId="{D040C85B-E296-4E29-9F2B-99DCF11F0937}" srcOrd="13" destOrd="0" presId="urn:microsoft.com/office/officeart/2005/8/layout/process1"/>
    <dgm:cxn modelId="{94437C36-266C-4F5A-AD13-EFD5BF8CADB8}" type="presParOf" srcId="{D040C85B-E296-4E29-9F2B-99DCF11F0937}" destId="{067DEAD1-77CE-4FF3-B4F9-39FCBDEE25E1}" srcOrd="0" destOrd="0" presId="urn:microsoft.com/office/officeart/2005/8/layout/process1"/>
    <dgm:cxn modelId="{E92AE864-7E95-4EBE-BFA5-85EE8C151171}" type="presParOf" srcId="{3EA5C518-11EB-4D2C-8092-312B08A8547B}" destId="{07AE541E-C2AA-40A3-84B5-09BFD090D7BF}" srcOrd="1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E17E74-AB73-4FF6-96EB-ECD69BAFB0AE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426DD9E0-6389-47A7-B650-8F2FD5BA7058}">
      <dgm:prSet phldrT="[Text]"/>
      <dgm:spPr/>
      <dgm:t>
        <a:bodyPr/>
        <a:lstStyle/>
        <a:p>
          <a:r>
            <a:rPr lang="en-US" dirty="0"/>
            <a:t>Increment Schedule for next Run</a:t>
          </a:r>
        </a:p>
      </dgm:t>
    </dgm:pt>
    <dgm:pt modelId="{913363C1-0F45-49FF-AC9B-D043F4E628AB}" type="parTrans" cxnId="{5D9928E8-EF1A-4FC1-BAB8-C9ACE1A987D5}">
      <dgm:prSet/>
      <dgm:spPr/>
      <dgm:t>
        <a:bodyPr/>
        <a:lstStyle/>
        <a:p>
          <a:endParaRPr lang="en-US"/>
        </a:p>
      </dgm:t>
    </dgm:pt>
    <dgm:pt modelId="{909A35AA-F309-43C4-8777-8C6063609F20}" type="sibTrans" cxnId="{5D9928E8-EF1A-4FC1-BAB8-C9ACE1A987D5}">
      <dgm:prSet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rtlCol="0" anchor="ctr" anchorCtr="0"/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EC64E76F-1B14-4CA3-9F7E-D64D3C2A2BB9}">
      <dgm:prSet phldrT="[Text]"/>
      <dgm:spPr/>
      <dgm:t>
        <a:bodyPr/>
        <a:lstStyle/>
        <a:p>
          <a:r>
            <a:rPr lang="en-US" dirty="0"/>
            <a:t>Kill </a:t>
          </a:r>
          <a:r>
            <a:rPr lang="en-US" dirty="0" err="1"/>
            <a:t>Unisim</a:t>
          </a:r>
          <a:r>
            <a:rPr lang="en-US" dirty="0"/>
            <a:t> Process if </a:t>
          </a:r>
          <a:r>
            <a:rPr lang="en-US" dirty="0" err="1"/>
            <a:t>KeepProcess</a:t>
          </a:r>
          <a:r>
            <a:rPr lang="en-US" dirty="0"/>
            <a:t> False</a:t>
          </a:r>
        </a:p>
      </dgm:t>
    </dgm:pt>
    <dgm:pt modelId="{730EC631-8946-40C5-8120-8BEDE12C1DD2}" type="parTrans" cxnId="{F46A6166-5240-4B9B-AC50-2C4A18BDCB9C}">
      <dgm:prSet/>
      <dgm:spPr/>
      <dgm:t>
        <a:bodyPr/>
        <a:lstStyle/>
        <a:p>
          <a:endParaRPr lang="en-US"/>
        </a:p>
      </dgm:t>
    </dgm:pt>
    <dgm:pt modelId="{539A4158-EE58-48A0-89E0-F3ABA761B80F}" type="sibTrans" cxnId="{F46A6166-5240-4B9B-AC50-2C4A18BDCB9C}">
      <dgm:prSet/>
      <dgm:spPr/>
      <dgm:t>
        <a:bodyPr/>
        <a:lstStyle/>
        <a:p>
          <a:endParaRPr lang="en-US"/>
        </a:p>
      </dgm:t>
    </dgm:pt>
    <dgm:pt modelId="{E0D1117E-5171-4D46-9BF3-7B7A17CD7F3E}">
      <dgm:prSet phldrT="[Text]"/>
      <dgm:spPr/>
      <dgm:t>
        <a:bodyPr/>
        <a:lstStyle/>
        <a:p>
          <a:r>
            <a:rPr lang="en-US" dirty="0"/>
            <a:t>Run Solver</a:t>
          </a:r>
        </a:p>
      </dgm:t>
    </dgm:pt>
    <dgm:pt modelId="{42BDEEB1-6987-4523-A6D3-E7FCDC38AA8F}" type="parTrans" cxnId="{C1256445-70A3-4FC2-9035-850F8F765E60}">
      <dgm:prSet/>
      <dgm:spPr/>
      <dgm:t>
        <a:bodyPr/>
        <a:lstStyle/>
        <a:p>
          <a:endParaRPr lang="en-US"/>
        </a:p>
      </dgm:t>
    </dgm:pt>
    <dgm:pt modelId="{0FDEB8B6-424A-4F56-A9F2-1FB04FE003DF}" type="sibTrans" cxnId="{C1256445-70A3-4FC2-9035-850F8F765E60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05C26653-AB16-4D94-A300-EC11FEAD09DF}">
      <dgm:prSet phldrT="[Text]"/>
      <dgm:spPr/>
      <dgm:t>
        <a:bodyPr/>
        <a:lstStyle/>
        <a:p>
          <a:r>
            <a:rPr lang="en-US" dirty="0"/>
            <a:t>Generation of Output Snapshot .csv &amp; .</a:t>
          </a:r>
          <a:r>
            <a:rPr lang="en-US" dirty="0" err="1"/>
            <a:t>usp</a:t>
          </a:r>
          <a:endParaRPr lang="en-US" dirty="0"/>
        </a:p>
        <a:p>
          <a:endParaRPr lang="en-US" dirty="0"/>
        </a:p>
      </dgm:t>
    </dgm:pt>
    <dgm:pt modelId="{94B92D5C-7866-4CB6-8830-8E08B94071DF}" type="parTrans" cxnId="{CBB5D434-FF77-47EF-BFF4-10D21217EF13}">
      <dgm:prSet/>
      <dgm:spPr/>
      <dgm:t>
        <a:bodyPr/>
        <a:lstStyle/>
        <a:p>
          <a:endParaRPr lang="en-US"/>
        </a:p>
      </dgm:t>
    </dgm:pt>
    <dgm:pt modelId="{51532342-96B4-4F56-B84C-5F0060E9D564}" type="sibTrans" cxnId="{CBB5D434-FF77-47EF-BFF4-10D21217EF13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994F901-A4F4-4BF3-8DB0-416205603C46}">
      <dgm:prSet phldrT="[Text]"/>
      <dgm:spPr/>
      <dgm:t>
        <a:bodyPr/>
        <a:lstStyle/>
        <a:p>
          <a:r>
            <a:rPr lang="en-US" dirty="0"/>
            <a:t>Fetching of the Values Input Values  for USD Input PDT</a:t>
          </a:r>
        </a:p>
      </dgm:t>
    </dgm:pt>
    <dgm:pt modelId="{9C24EB96-B23E-4980-8FAC-AA74AE769802}" type="sibTrans" cxnId="{8B635680-1054-4386-8F4B-65F2962ABB55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BC4D776D-F347-4414-B1F4-AF346A48F72B}" type="parTrans" cxnId="{8B635680-1054-4386-8F4B-65F2962ABB55}">
      <dgm:prSet/>
      <dgm:spPr/>
      <dgm:t>
        <a:bodyPr/>
        <a:lstStyle/>
        <a:p>
          <a:endParaRPr lang="en-US"/>
        </a:p>
      </dgm:t>
    </dgm:pt>
    <dgm:pt modelId="{03471681-4279-4C09-BB75-0742797532E7}">
      <dgm:prSet phldrT="[Text]"/>
      <dgm:spPr/>
      <dgm:t>
        <a:bodyPr/>
        <a:lstStyle/>
        <a:p>
          <a:r>
            <a:rPr lang="en-US" dirty="0"/>
            <a:t>Scheduling of the Orchestration Service</a:t>
          </a:r>
        </a:p>
      </dgm:t>
    </dgm:pt>
    <dgm:pt modelId="{91C8FF75-150B-47C3-9247-0842596A896B}" type="sibTrans" cxnId="{9E7035BD-F30D-44CF-894B-7FAF5E2C6675}">
      <dgm:prSet/>
      <dgm:spPr>
        <a:solidFill>
          <a:srgbClr val="404040"/>
        </a:solidFill>
      </dgm:spPr>
      <dgm:t>
        <a:bodyPr/>
        <a:lstStyle/>
        <a:p>
          <a:endParaRPr lang="en-US"/>
        </a:p>
      </dgm:t>
    </dgm:pt>
    <dgm:pt modelId="{534A9F47-5BED-425E-80B1-9F636B80D88B}" type="parTrans" cxnId="{9E7035BD-F30D-44CF-894B-7FAF5E2C6675}">
      <dgm:prSet/>
      <dgm:spPr/>
      <dgm:t>
        <a:bodyPr/>
        <a:lstStyle/>
        <a:p>
          <a:endParaRPr lang="en-US"/>
        </a:p>
      </dgm:t>
    </dgm:pt>
    <dgm:pt modelId="{FC637A2C-F7D9-4716-87BB-48A35712AA51}">
      <dgm:prSet phldrT="[Text]"/>
      <dgm:spPr/>
      <dgm:t>
        <a:bodyPr/>
        <a:lstStyle/>
        <a:p>
          <a:r>
            <a:rPr lang="en-US" dirty="0"/>
            <a:t>Ready Check</a:t>
          </a:r>
        </a:p>
      </dgm:t>
    </dgm:pt>
    <dgm:pt modelId="{794DF3C9-085C-4B7D-BBFB-72DD03E4FAE0}" type="parTrans" cxnId="{9784A006-E49B-440A-BADA-A17F447391A7}">
      <dgm:prSet/>
      <dgm:spPr/>
      <dgm:t>
        <a:bodyPr/>
        <a:lstStyle/>
        <a:p>
          <a:endParaRPr lang="en-US"/>
        </a:p>
      </dgm:t>
    </dgm:pt>
    <dgm:pt modelId="{D780B16A-6A01-4DB5-B4F0-01D256CF4A84}" type="sibTrans" cxnId="{9784A006-E49B-440A-BADA-A17F447391A7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48BF9A4F-826A-48F6-9AD3-1F0F0D092056}">
      <dgm:prSet phldrT="[Text]"/>
      <dgm:spPr/>
      <dgm:t>
        <a:bodyPr/>
        <a:lstStyle/>
        <a:p>
          <a:r>
            <a:rPr lang="en-US" dirty="0"/>
            <a:t>Generation of Input Snapshot .csv &amp; .</a:t>
          </a:r>
          <a:r>
            <a:rPr lang="en-US" dirty="0" err="1"/>
            <a:t>usp</a:t>
          </a:r>
          <a:endParaRPr lang="en-US" dirty="0"/>
        </a:p>
      </dgm:t>
    </dgm:pt>
    <dgm:pt modelId="{C84D108D-9493-4804-AB69-B27B7DFD4B85}" type="parTrans" cxnId="{01D37D48-45CF-400B-A5EE-10072DB6A608}">
      <dgm:prSet/>
      <dgm:spPr/>
      <dgm:t>
        <a:bodyPr/>
        <a:lstStyle/>
        <a:p>
          <a:endParaRPr lang="en-US"/>
        </a:p>
      </dgm:t>
    </dgm:pt>
    <dgm:pt modelId="{E1810FFF-9847-42CA-BCEF-93C1DE95BB7A}" type="sibTrans" cxnId="{01D37D48-45CF-400B-A5EE-10072DB6A608}">
      <dgm:prSet custT="1"/>
      <dgm:spPr>
        <a:solidFill>
          <a:srgbClr val="404040"/>
        </a:solidFill>
        <a:ln>
          <a:noFill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gm:t>
    </dgm:pt>
    <dgm:pt modelId="{3EA5C518-11EB-4D2C-8092-312B08A8547B}" type="pres">
      <dgm:prSet presAssocID="{66E17E74-AB73-4FF6-96EB-ECD69BAFB0AE}" presName="Name0" presStyleCnt="0">
        <dgm:presLayoutVars>
          <dgm:dir/>
          <dgm:resizeHandles val="exact"/>
        </dgm:presLayoutVars>
      </dgm:prSet>
      <dgm:spPr/>
    </dgm:pt>
    <dgm:pt modelId="{8749287A-CC6E-487C-B3BE-534EE328D5F1}" type="pres">
      <dgm:prSet presAssocID="{03471681-4279-4C09-BB75-0742797532E7}" presName="node" presStyleLbl="node1" presStyleIdx="0" presStyleCnt="8">
        <dgm:presLayoutVars>
          <dgm:bulletEnabled val="1"/>
        </dgm:presLayoutVars>
      </dgm:prSet>
      <dgm:spPr/>
    </dgm:pt>
    <dgm:pt modelId="{41B46D50-E655-4EE4-A14C-4B50AB9E230A}" type="pres">
      <dgm:prSet presAssocID="{91C8FF75-150B-47C3-9247-0842596A896B}" presName="sibTrans" presStyleLbl="sibTrans2D1" presStyleIdx="0" presStyleCnt="7" custScaleX="184656"/>
      <dgm:spPr/>
    </dgm:pt>
    <dgm:pt modelId="{3FF98395-AFEC-48B3-BB6C-A4AC5C1D730C}" type="pres">
      <dgm:prSet presAssocID="{91C8FF75-150B-47C3-9247-0842596A896B}" presName="connectorText" presStyleLbl="sibTrans2D1" presStyleIdx="0" presStyleCnt="7"/>
      <dgm:spPr/>
    </dgm:pt>
    <dgm:pt modelId="{320A4903-99F2-4A61-80F9-519799B5466D}" type="pres">
      <dgm:prSet presAssocID="{FC637A2C-F7D9-4716-87BB-48A35712AA51}" presName="node" presStyleLbl="node1" presStyleIdx="1" presStyleCnt="8">
        <dgm:presLayoutVars>
          <dgm:bulletEnabled val="1"/>
        </dgm:presLayoutVars>
      </dgm:prSet>
      <dgm:spPr/>
    </dgm:pt>
    <dgm:pt modelId="{48F0DB3F-CED0-4A30-84C3-F74402984B33}" type="pres">
      <dgm:prSet presAssocID="{D780B16A-6A01-4DB5-B4F0-01D256CF4A84}" presName="sibTrans" presStyleLbl="sibTrans2D1" presStyleIdx="1" presStyleCnt="7" custScaleX="187316"/>
      <dgm:spPr>
        <a:xfrm>
          <a:off x="2594972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F984739F-52BF-4B5A-96A1-1D703DA4AADA}" type="pres">
      <dgm:prSet presAssocID="{D780B16A-6A01-4DB5-B4F0-01D256CF4A84}" presName="connectorText" presStyleLbl="sibTrans2D1" presStyleIdx="1" presStyleCnt="7"/>
      <dgm:spPr/>
    </dgm:pt>
    <dgm:pt modelId="{816EB92E-FBC1-4097-8DCC-B2FE6ED0186C}" type="pres">
      <dgm:prSet presAssocID="{3994F901-A4F4-4BF3-8DB0-416205603C46}" presName="node" presStyleLbl="node1" presStyleIdx="2" presStyleCnt="8">
        <dgm:presLayoutVars>
          <dgm:bulletEnabled val="1"/>
        </dgm:presLayoutVars>
      </dgm:prSet>
      <dgm:spPr/>
    </dgm:pt>
    <dgm:pt modelId="{5D611C59-4288-402C-8A6B-543EC43B3EEA}" type="pres">
      <dgm:prSet presAssocID="{9C24EB96-B23E-4980-8FAC-AA74AE769802}" presName="sibTrans" presStyleLbl="sibTrans2D1" presStyleIdx="2" presStyleCnt="7" custScaleX="209129"/>
      <dgm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D0880986-A72C-4885-AFCC-2F80D9B62971}" type="pres">
      <dgm:prSet presAssocID="{9C24EB96-B23E-4980-8FAC-AA74AE769802}" presName="connectorText" presStyleLbl="sibTrans2D1" presStyleIdx="2" presStyleCnt="7"/>
      <dgm:spPr/>
    </dgm:pt>
    <dgm:pt modelId="{F1A7AAB0-F43B-42C8-B704-4266D2D7ADEA}" type="pres">
      <dgm:prSet presAssocID="{48BF9A4F-826A-48F6-9AD3-1F0F0D092056}" presName="node" presStyleLbl="node1" presStyleIdx="3" presStyleCnt="8">
        <dgm:presLayoutVars>
          <dgm:bulletEnabled val="1"/>
        </dgm:presLayoutVars>
      </dgm:prSet>
      <dgm:spPr/>
    </dgm:pt>
    <dgm:pt modelId="{616F52CE-0D12-42DE-A96D-EA1BA4BF062C}" type="pres">
      <dgm:prSet presAssocID="{E1810FFF-9847-42CA-BCEF-93C1DE95BB7A}" presName="sibTrans" presStyleLbl="sibTrans2D1" presStyleIdx="3" presStyleCnt="7" custScaleX="187780"/>
      <dgm:spPr>
        <a:xfrm>
          <a:off x="5497054" y="2115359"/>
          <a:ext cx="219729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EAEB3B28-2060-4EEF-9864-F9604971277A}" type="pres">
      <dgm:prSet presAssocID="{E1810FFF-9847-42CA-BCEF-93C1DE95BB7A}" presName="connectorText" presStyleLbl="sibTrans2D1" presStyleIdx="3" presStyleCnt="7"/>
      <dgm:spPr/>
    </dgm:pt>
    <dgm:pt modelId="{9CFD9C3C-606A-4AA9-98A4-2C10BD98187F}" type="pres">
      <dgm:prSet presAssocID="{E0D1117E-5171-4D46-9BF3-7B7A17CD7F3E}" presName="node" presStyleLbl="node1" presStyleIdx="4" presStyleCnt="8">
        <dgm:presLayoutVars>
          <dgm:bulletEnabled val="1"/>
        </dgm:presLayoutVars>
      </dgm:prSet>
      <dgm:spPr/>
    </dgm:pt>
    <dgm:pt modelId="{9416B4E1-33DB-41D7-9C8D-1CB8E1CCF416}" type="pres">
      <dgm:prSet presAssocID="{0FDEB8B6-424A-4F56-A9F2-1FB04FE003DF}" presName="sibTrans" presStyleLbl="sibTrans2D1" presStyleIdx="4" presStyleCnt="7" custScaleX="201604"/>
      <dgm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82BAE45F-4E69-456E-995A-E241F5DF51B6}" type="pres">
      <dgm:prSet presAssocID="{0FDEB8B6-424A-4F56-A9F2-1FB04FE003DF}" presName="connectorText" presStyleLbl="sibTrans2D1" presStyleIdx="4" presStyleCnt="7"/>
      <dgm:spPr/>
    </dgm:pt>
    <dgm:pt modelId="{E4B3985F-FB8F-4469-97B0-1F82E177C1C9}" type="pres">
      <dgm:prSet presAssocID="{05C26653-AB16-4D94-A300-EC11FEAD09DF}" presName="node" presStyleLbl="node1" presStyleIdx="5" presStyleCnt="8">
        <dgm:presLayoutVars>
          <dgm:bulletEnabled val="1"/>
        </dgm:presLayoutVars>
      </dgm:prSet>
      <dgm:spPr/>
    </dgm:pt>
    <dgm:pt modelId="{EA63E36F-0D92-4502-A0A6-2F2CBE3D1AB2}" type="pres">
      <dgm:prSet presAssocID="{51532342-96B4-4F56-B84C-5F0060E9D564}" presName="sibTrans" presStyleLbl="sibTrans2D1" presStyleIdx="5" presStyleCnt="7" custScaleX="177123"/>
      <dgm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</dgm:spPr>
    </dgm:pt>
    <dgm:pt modelId="{367A7C23-8979-4D66-80EE-4A61DB17FE0E}" type="pres">
      <dgm:prSet presAssocID="{51532342-96B4-4F56-B84C-5F0060E9D564}" presName="connectorText" presStyleLbl="sibTrans2D1" presStyleIdx="5" presStyleCnt="7"/>
      <dgm:spPr/>
    </dgm:pt>
    <dgm:pt modelId="{8ED338A9-C971-4263-AE8E-5F1450503848}" type="pres">
      <dgm:prSet presAssocID="{426DD9E0-6389-47A7-B650-8F2FD5BA7058}" presName="node" presStyleLbl="node1" presStyleIdx="6" presStyleCnt="8">
        <dgm:presLayoutVars>
          <dgm:bulletEnabled val="1"/>
        </dgm:presLayoutVars>
      </dgm:prSet>
      <dgm:spPr/>
    </dgm:pt>
    <dgm:pt modelId="{D040C85B-E296-4E29-9F2B-99DCF11F0937}" type="pres">
      <dgm:prSet presAssocID="{909A35AA-F309-43C4-8777-8C6063609F20}" presName="sibTrans" presStyleLbl="sibTrans2D1" presStyleIdx="6" presStyleCnt="7" custScaleX="203512"/>
      <dgm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</dgm:spPr>
    </dgm:pt>
    <dgm:pt modelId="{067DEAD1-77CE-4FF3-B4F9-39FCBDEE25E1}" type="pres">
      <dgm:prSet presAssocID="{909A35AA-F309-43C4-8777-8C6063609F20}" presName="connectorText" presStyleLbl="sibTrans2D1" presStyleIdx="6" presStyleCnt="7"/>
      <dgm:spPr/>
    </dgm:pt>
    <dgm:pt modelId="{07AE541E-C2AA-40A3-84B5-09BFD090D7BF}" type="pres">
      <dgm:prSet presAssocID="{EC64E76F-1B14-4CA3-9F7E-D64D3C2A2BB9}" presName="node" presStyleLbl="node1" presStyleIdx="7" presStyleCnt="8">
        <dgm:presLayoutVars>
          <dgm:bulletEnabled val="1"/>
        </dgm:presLayoutVars>
      </dgm:prSet>
      <dgm:spPr/>
    </dgm:pt>
  </dgm:ptLst>
  <dgm:cxnLst>
    <dgm:cxn modelId="{9784A006-E49B-440A-BADA-A17F447391A7}" srcId="{66E17E74-AB73-4FF6-96EB-ECD69BAFB0AE}" destId="{FC637A2C-F7D9-4716-87BB-48A35712AA51}" srcOrd="1" destOrd="0" parTransId="{794DF3C9-085C-4B7D-BBFB-72DD03E4FAE0}" sibTransId="{D780B16A-6A01-4DB5-B4F0-01D256CF4A84}"/>
    <dgm:cxn modelId="{A4EE7F23-891A-45D7-B3FE-FB1DFCB570FC}" type="presOf" srcId="{51532342-96B4-4F56-B84C-5F0060E9D564}" destId="{367A7C23-8979-4D66-80EE-4A61DB17FE0E}" srcOrd="1" destOrd="0" presId="urn:microsoft.com/office/officeart/2005/8/layout/process1"/>
    <dgm:cxn modelId="{1C6E6F24-4967-4B2E-A220-DA4B02C8C352}" type="presOf" srcId="{0FDEB8B6-424A-4F56-A9F2-1FB04FE003DF}" destId="{82BAE45F-4E69-456E-995A-E241F5DF51B6}" srcOrd="1" destOrd="0" presId="urn:microsoft.com/office/officeart/2005/8/layout/process1"/>
    <dgm:cxn modelId="{F61FFC27-A021-4522-A13C-EE51EDF84E00}" type="presOf" srcId="{909A35AA-F309-43C4-8777-8C6063609F20}" destId="{067DEAD1-77CE-4FF3-B4F9-39FCBDEE25E1}" srcOrd="1" destOrd="0" presId="urn:microsoft.com/office/officeart/2005/8/layout/process1"/>
    <dgm:cxn modelId="{CBB5D434-FF77-47EF-BFF4-10D21217EF13}" srcId="{66E17E74-AB73-4FF6-96EB-ECD69BAFB0AE}" destId="{05C26653-AB16-4D94-A300-EC11FEAD09DF}" srcOrd="5" destOrd="0" parTransId="{94B92D5C-7866-4CB6-8830-8E08B94071DF}" sibTransId="{51532342-96B4-4F56-B84C-5F0060E9D564}"/>
    <dgm:cxn modelId="{B9239A3F-4E73-4BA3-B015-0543FE748B8C}" type="presOf" srcId="{9C24EB96-B23E-4980-8FAC-AA74AE769802}" destId="{D0880986-A72C-4885-AFCC-2F80D9B62971}" srcOrd="1" destOrd="0" presId="urn:microsoft.com/office/officeart/2005/8/layout/process1"/>
    <dgm:cxn modelId="{F9BF6D43-4358-4631-8C03-1307DB55E5E8}" type="presOf" srcId="{D780B16A-6A01-4DB5-B4F0-01D256CF4A84}" destId="{F984739F-52BF-4B5A-96A1-1D703DA4AADA}" srcOrd="1" destOrd="0" presId="urn:microsoft.com/office/officeart/2005/8/layout/process1"/>
    <dgm:cxn modelId="{1C16A144-DA8A-4E49-A177-91FF647E2998}" type="presOf" srcId="{66E17E74-AB73-4FF6-96EB-ECD69BAFB0AE}" destId="{3EA5C518-11EB-4D2C-8092-312B08A8547B}" srcOrd="0" destOrd="0" presId="urn:microsoft.com/office/officeart/2005/8/layout/process1"/>
    <dgm:cxn modelId="{C1256445-70A3-4FC2-9035-850F8F765E60}" srcId="{66E17E74-AB73-4FF6-96EB-ECD69BAFB0AE}" destId="{E0D1117E-5171-4D46-9BF3-7B7A17CD7F3E}" srcOrd="4" destOrd="0" parTransId="{42BDEEB1-6987-4523-A6D3-E7FCDC38AA8F}" sibTransId="{0FDEB8B6-424A-4F56-A9F2-1FB04FE003DF}"/>
    <dgm:cxn modelId="{F46A6166-5240-4B9B-AC50-2C4A18BDCB9C}" srcId="{66E17E74-AB73-4FF6-96EB-ECD69BAFB0AE}" destId="{EC64E76F-1B14-4CA3-9F7E-D64D3C2A2BB9}" srcOrd="7" destOrd="0" parTransId="{730EC631-8946-40C5-8120-8BEDE12C1DD2}" sibTransId="{539A4158-EE58-48A0-89E0-F3ABA761B80F}"/>
    <dgm:cxn modelId="{01D37D48-45CF-400B-A5EE-10072DB6A608}" srcId="{66E17E74-AB73-4FF6-96EB-ECD69BAFB0AE}" destId="{48BF9A4F-826A-48F6-9AD3-1F0F0D092056}" srcOrd="3" destOrd="0" parTransId="{C84D108D-9493-4804-AB69-B27B7DFD4B85}" sibTransId="{E1810FFF-9847-42CA-BCEF-93C1DE95BB7A}"/>
    <dgm:cxn modelId="{CEC38A68-7431-4875-82E9-0009F7302641}" type="presOf" srcId="{909A35AA-F309-43C4-8777-8C6063609F20}" destId="{D040C85B-E296-4E29-9F2B-99DCF11F0937}" srcOrd="0" destOrd="0" presId="urn:microsoft.com/office/officeart/2005/8/layout/process1"/>
    <dgm:cxn modelId="{8F9EB14C-895F-423E-8D63-5E72C1CFF517}" type="presOf" srcId="{0FDEB8B6-424A-4F56-A9F2-1FB04FE003DF}" destId="{9416B4E1-33DB-41D7-9C8D-1CB8E1CCF416}" srcOrd="0" destOrd="0" presId="urn:microsoft.com/office/officeart/2005/8/layout/process1"/>
    <dgm:cxn modelId="{3C902372-BA4D-472B-8CFF-D180E636F723}" type="presOf" srcId="{48BF9A4F-826A-48F6-9AD3-1F0F0D092056}" destId="{F1A7AAB0-F43B-42C8-B704-4266D2D7ADEA}" srcOrd="0" destOrd="0" presId="urn:microsoft.com/office/officeart/2005/8/layout/process1"/>
    <dgm:cxn modelId="{BB78A477-4266-401A-ADE4-C76E2A9F6D98}" type="presOf" srcId="{E1810FFF-9847-42CA-BCEF-93C1DE95BB7A}" destId="{616F52CE-0D12-42DE-A96D-EA1BA4BF062C}" srcOrd="0" destOrd="0" presId="urn:microsoft.com/office/officeart/2005/8/layout/process1"/>
    <dgm:cxn modelId="{8B635680-1054-4386-8F4B-65F2962ABB55}" srcId="{66E17E74-AB73-4FF6-96EB-ECD69BAFB0AE}" destId="{3994F901-A4F4-4BF3-8DB0-416205603C46}" srcOrd="2" destOrd="0" parTransId="{BC4D776D-F347-4414-B1F4-AF346A48F72B}" sibTransId="{9C24EB96-B23E-4980-8FAC-AA74AE769802}"/>
    <dgm:cxn modelId="{347AD388-26C1-4CAA-9B39-99C4E9E2B236}" type="presOf" srcId="{EC64E76F-1B14-4CA3-9F7E-D64D3C2A2BB9}" destId="{07AE541E-C2AA-40A3-84B5-09BFD090D7BF}" srcOrd="0" destOrd="0" presId="urn:microsoft.com/office/officeart/2005/8/layout/process1"/>
    <dgm:cxn modelId="{DA42A8A2-2010-498D-8344-A419FF36D9D9}" type="presOf" srcId="{426DD9E0-6389-47A7-B650-8F2FD5BA7058}" destId="{8ED338A9-C971-4263-AE8E-5F1450503848}" srcOrd="0" destOrd="0" presId="urn:microsoft.com/office/officeart/2005/8/layout/process1"/>
    <dgm:cxn modelId="{4671F1A6-6D9C-4211-81C6-124591D13DE6}" type="presOf" srcId="{D780B16A-6A01-4DB5-B4F0-01D256CF4A84}" destId="{48F0DB3F-CED0-4A30-84C3-F74402984B33}" srcOrd="0" destOrd="0" presId="urn:microsoft.com/office/officeart/2005/8/layout/process1"/>
    <dgm:cxn modelId="{E12AA9B1-62D5-4876-9203-58BE012B5040}" type="presOf" srcId="{03471681-4279-4C09-BB75-0742797532E7}" destId="{8749287A-CC6E-487C-B3BE-534EE328D5F1}" srcOrd="0" destOrd="0" presId="urn:microsoft.com/office/officeart/2005/8/layout/process1"/>
    <dgm:cxn modelId="{86DE3BB3-3E0A-4306-B1E8-2D449ABFCD7A}" type="presOf" srcId="{9C24EB96-B23E-4980-8FAC-AA74AE769802}" destId="{5D611C59-4288-402C-8A6B-543EC43B3EEA}" srcOrd="0" destOrd="0" presId="urn:microsoft.com/office/officeart/2005/8/layout/process1"/>
    <dgm:cxn modelId="{9E7035BD-F30D-44CF-894B-7FAF5E2C6675}" srcId="{66E17E74-AB73-4FF6-96EB-ECD69BAFB0AE}" destId="{03471681-4279-4C09-BB75-0742797532E7}" srcOrd="0" destOrd="0" parTransId="{534A9F47-5BED-425E-80B1-9F636B80D88B}" sibTransId="{91C8FF75-150B-47C3-9247-0842596A896B}"/>
    <dgm:cxn modelId="{89EBEEC9-1372-4E7F-91B5-2C2199FE6171}" type="presOf" srcId="{E1810FFF-9847-42CA-BCEF-93C1DE95BB7A}" destId="{EAEB3B28-2060-4EEF-9864-F9604971277A}" srcOrd="1" destOrd="0" presId="urn:microsoft.com/office/officeart/2005/8/layout/process1"/>
    <dgm:cxn modelId="{9DD21CCB-4BE8-4914-BCF4-450AE5F18B57}" type="presOf" srcId="{51532342-96B4-4F56-B84C-5F0060E9D564}" destId="{EA63E36F-0D92-4502-A0A6-2F2CBE3D1AB2}" srcOrd="0" destOrd="0" presId="urn:microsoft.com/office/officeart/2005/8/layout/process1"/>
    <dgm:cxn modelId="{79A12AE2-EC76-43F0-B440-F79D2A169FB4}" type="presOf" srcId="{91C8FF75-150B-47C3-9247-0842596A896B}" destId="{3FF98395-AFEC-48B3-BB6C-A4AC5C1D730C}" srcOrd="1" destOrd="0" presId="urn:microsoft.com/office/officeart/2005/8/layout/process1"/>
    <dgm:cxn modelId="{856DBBE4-A507-4390-9858-41C370EB8DFE}" type="presOf" srcId="{05C26653-AB16-4D94-A300-EC11FEAD09DF}" destId="{E4B3985F-FB8F-4469-97B0-1F82E177C1C9}" srcOrd="0" destOrd="0" presId="urn:microsoft.com/office/officeart/2005/8/layout/process1"/>
    <dgm:cxn modelId="{5D9928E8-EF1A-4FC1-BAB8-C9ACE1A987D5}" srcId="{66E17E74-AB73-4FF6-96EB-ECD69BAFB0AE}" destId="{426DD9E0-6389-47A7-B650-8F2FD5BA7058}" srcOrd="6" destOrd="0" parTransId="{913363C1-0F45-49FF-AC9B-D043F4E628AB}" sibTransId="{909A35AA-F309-43C4-8777-8C6063609F20}"/>
    <dgm:cxn modelId="{DA3B87E8-43C7-486B-B2E9-DF75804DCC13}" type="presOf" srcId="{FC637A2C-F7D9-4716-87BB-48A35712AA51}" destId="{320A4903-99F2-4A61-80F9-519799B5466D}" srcOrd="0" destOrd="0" presId="urn:microsoft.com/office/officeart/2005/8/layout/process1"/>
    <dgm:cxn modelId="{6EE766F0-3586-44BE-AF09-291E22F43266}" type="presOf" srcId="{91C8FF75-150B-47C3-9247-0842596A896B}" destId="{41B46D50-E655-4EE4-A14C-4B50AB9E230A}" srcOrd="0" destOrd="0" presId="urn:microsoft.com/office/officeart/2005/8/layout/process1"/>
    <dgm:cxn modelId="{082919F2-2214-4F6F-A1BB-654CD5F52D3B}" type="presOf" srcId="{E0D1117E-5171-4D46-9BF3-7B7A17CD7F3E}" destId="{9CFD9C3C-606A-4AA9-98A4-2C10BD98187F}" srcOrd="0" destOrd="0" presId="urn:microsoft.com/office/officeart/2005/8/layout/process1"/>
    <dgm:cxn modelId="{602004FA-7166-4069-9466-35BB3F452DB8}" type="presOf" srcId="{3994F901-A4F4-4BF3-8DB0-416205603C46}" destId="{816EB92E-FBC1-4097-8DCC-B2FE6ED0186C}" srcOrd="0" destOrd="0" presId="urn:microsoft.com/office/officeart/2005/8/layout/process1"/>
    <dgm:cxn modelId="{77968500-8587-4773-BA0D-61967BA5B046}" type="presParOf" srcId="{3EA5C518-11EB-4D2C-8092-312B08A8547B}" destId="{8749287A-CC6E-487C-B3BE-534EE328D5F1}" srcOrd="0" destOrd="0" presId="urn:microsoft.com/office/officeart/2005/8/layout/process1"/>
    <dgm:cxn modelId="{28839EE9-63A8-4AFA-80D6-B9FDA54C8A66}" type="presParOf" srcId="{3EA5C518-11EB-4D2C-8092-312B08A8547B}" destId="{41B46D50-E655-4EE4-A14C-4B50AB9E230A}" srcOrd="1" destOrd="0" presId="urn:microsoft.com/office/officeart/2005/8/layout/process1"/>
    <dgm:cxn modelId="{4422C2D8-3337-4F9A-BCC9-A8A2B9CFB9E4}" type="presParOf" srcId="{41B46D50-E655-4EE4-A14C-4B50AB9E230A}" destId="{3FF98395-AFEC-48B3-BB6C-A4AC5C1D730C}" srcOrd="0" destOrd="0" presId="urn:microsoft.com/office/officeart/2005/8/layout/process1"/>
    <dgm:cxn modelId="{D76F8534-25EA-499E-A83E-A27262929518}" type="presParOf" srcId="{3EA5C518-11EB-4D2C-8092-312B08A8547B}" destId="{320A4903-99F2-4A61-80F9-519799B5466D}" srcOrd="2" destOrd="0" presId="urn:microsoft.com/office/officeart/2005/8/layout/process1"/>
    <dgm:cxn modelId="{2995158F-2C86-4C7D-8F82-08D46F03EE6F}" type="presParOf" srcId="{3EA5C518-11EB-4D2C-8092-312B08A8547B}" destId="{48F0DB3F-CED0-4A30-84C3-F74402984B33}" srcOrd="3" destOrd="0" presId="urn:microsoft.com/office/officeart/2005/8/layout/process1"/>
    <dgm:cxn modelId="{4A134B5C-72C8-4A62-B7FD-3596D1FE3075}" type="presParOf" srcId="{48F0DB3F-CED0-4A30-84C3-F74402984B33}" destId="{F984739F-52BF-4B5A-96A1-1D703DA4AADA}" srcOrd="0" destOrd="0" presId="urn:microsoft.com/office/officeart/2005/8/layout/process1"/>
    <dgm:cxn modelId="{31FE913A-BD68-4339-BF0C-B0D348FD104A}" type="presParOf" srcId="{3EA5C518-11EB-4D2C-8092-312B08A8547B}" destId="{816EB92E-FBC1-4097-8DCC-B2FE6ED0186C}" srcOrd="4" destOrd="0" presId="urn:microsoft.com/office/officeart/2005/8/layout/process1"/>
    <dgm:cxn modelId="{1F82DE9B-869F-4E93-8EFC-23E214836F26}" type="presParOf" srcId="{3EA5C518-11EB-4D2C-8092-312B08A8547B}" destId="{5D611C59-4288-402C-8A6B-543EC43B3EEA}" srcOrd="5" destOrd="0" presId="urn:microsoft.com/office/officeart/2005/8/layout/process1"/>
    <dgm:cxn modelId="{225DC84B-DD70-4F5B-9A10-7F55169A1684}" type="presParOf" srcId="{5D611C59-4288-402C-8A6B-543EC43B3EEA}" destId="{D0880986-A72C-4885-AFCC-2F80D9B62971}" srcOrd="0" destOrd="0" presId="urn:microsoft.com/office/officeart/2005/8/layout/process1"/>
    <dgm:cxn modelId="{06155F3D-7AE6-475F-B485-3466EFB66F8E}" type="presParOf" srcId="{3EA5C518-11EB-4D2C-8092-312B08A8547B}" destId="{F1A7AAB0-F43B-42C8-B704-4266D2D7ADEA}" srcOrd="6" destOrd="0" presId="urn:microsoft.com/office/officeart/2005/8/layout/process1"/>
    <dgm:cxn modelId="{A9A1A591-1C3F-4F31-A935-CD49AF3A2453}" type="presParOf" srcId="{3EA5C518-11EB-4D2C-8092-312B08A8547B}" destId="{616F52CE-0D12-42DE-A96D-EA1BA4BF062C}" srcOrd="7" destOrd="0" presId="urn:microsoft.com/office/officeart/2005/8/layout/process1"/>
    <dgm:cxn modelId="{56476DF5-6B35-42D1-9682-DE51EEB0DA34}" type="presParOf" srcId="{616F52CE-0D12-42DE-A96D-EA1BA4BF062C}" destId="{EAEB3B28-2060-4EEF-9864-F9604971277A}" srcOrd="0" destOrd="0" presId="urn:microsoft.com/office/officeart/2005/8/layout/process1"/>
    <dgm:cxn modelId="{A68F8530-A744-47AC-A98A-E0BFCC074888}" type="presParOf" srcId="{3EA5C518-11EB-4D2C-8092-312B08A8547B}" destId="{9CFD9C3C-606A-4AA9-98A4-2C10BD98187F}" srcOrd="8" destOrd="0" presId="urn:microsoft.com/office/officeart/2005/8/layout/process1"/>
    <dgm:cxn modelId="{AE43E79B-7B2A-4C67-B3CC-FB972C4FF72F}" type="presParOf" srcId="{3EA5C518-11EB-4D2C-8092-312B08A8547B}" destId="{9416B4E1-33DB-41D7-9C8D-1CB8E1CCF416}" srcOrd="9" destOrd="0" presId="urn:microsoft.com/office/officeart/2005/8/layout/process1"/>
    <dgm:cxn modelId="{D12981B3-9046-4E1A-A959-DDE1D133EB04}" type="presParOf" srcId="{9416B4E1-33DB-41D7-9C8D-1CB8E1CCF416}" destId="{82BAE45F-4E69-456E-995A-E241F5DF51B6}" srcOrd="0" destOrd="0" presId="urn:microsoft.com/office/officeart/2005/8/layout/process1"/>
    <dgm:cxn modelId="{35F2CAB8-B7FA-47E3-9699-09B84D5046FA}" type="presParOf" srcId="{3EA5C518-11EB-4D2C-8092-312B08A8547B}" destId="{E4B3985F-FB8F-4469-97B0-1F82E177C1C9}" srcOrd="10" destOrd="0" presId="urn:microsoft.com/office/officeart/2005/8/layout/process1"/>
    <dgm:cxn modelId="{C01C2814-47CA-46ED-8FBE-F7240B8F258E}" type="presParOf" srcId="{3EA5C518-11EB-4D2C-8092-312B08A8547B}" destId="{EA63E36F-0D92-4502-A0A6-2F2CBE3D1AB2}" srcOrd="11" destOrd="0" presId="urn:microsoft.com/office/officeart/2005/8/layout/process1"/>
    <dgm:cxn modelId="{8A113D38-3A12-45B6-BA48-A4BBEC06F2C7}" type="presParOf" srcId="{EA63E36F-0D92-4502-A0A6-2F2CBE3D1AB2}" destId="{367A7C23-8979-4D66-80EE-4A61DB17FE0E}" srcOrd="0" destOrd="0" presId="urn:microsoft.com/office/officeart/2005/8/layout/process1"/>
    <dgm:cxn modelId="{65E4D6C5-95BD-4709-81B7-9062FC5D9C63}" type="presParOf" srcId="{3EA5C518-11EB-4D2C-8092-312B08A8547B}" destId="{8ED338A9-C971-4263-AE8E-5F1450503848}" srcOrd="12" destOrd="0" presId="urn:microsoft.com/office/officeart/2005/8/layout/process1"/>
    <dgm:cxn modelId="{B99FF21A-A3C8-406A-A816-1FE6789F6796}" type="presParOf" srcId="{3EA5C518-11EB-4D2C-8092-312B08A8547B}" destId="{D040C85B-E296-4E29-9F2B-99DCF11F0937}" srcOrd="13" destOrd="0" presId="urn:microsoft.com/office/officeart/2005/8/layout/process1"/>
    <dgm:cxn modelId="{94437C36-266C-4F5A-AD13-EFD5BF8CADB8}" type="presParOf" srcId="{D040C85B-E296-4E29-9F2B-99DCF11F0937}" destId="{067DEAD1-77CE-4FF3-B4F9-39FCBDEE25E1}" srcOrd="0" destOrd="0" presId="urn:microsoft.com/office/officeart/2005/8/layout/process1"/>
    <dgm:cxn modelId="{E92AE864-7E95-4EBE-BFA5-85EE8C151171}" type="presParOf" srcId="{3EA5C518-11EB-4D2C-8092-312B08A8547B}" destId="{07AE541E-C2AA-40A3-84B5-09BFD090D7BF}" srcOrd="1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7039CB7-9C62-4235-859C-7999AFED78AA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</dgm:pt>
    <dgm:pt modelId="{5322B007-1A72-4F68-8847-59796079BBBF}">
      <dgm:prSet phldrT="[Text]"/>
      <dgm:spPr/>
      <dgm:t>
        <a:bodyPr/>
        <a:lstStyle/>
        <a:p>
          <a:r>
            <a:rPr lang="en-US" dirty="0"/>
            <a:t>e-PHD</a:t>
          </a:r>
        </a:p>
      </dgm:t>
    </dgm:pt>
    <dgm:pt modelId="{E80BB1AB-A49D-4AA8-A37C-CEF6C7BF2992}" type="parTrans" cxnId="{9BD6136E-C528-4324-857F-6117DF984B09}">
      <dgm:prSet/>
      <dgm:spPr/>
      <dgm:t>
        <a:bodyPr/>
        <a:lstStyle/>
        <a:p>
          <a:endParaRPr lang="en-US"/>
        </a:p>
      </dgm:t>
    </dgm:pt>
    <dgm:pt modelId="{98B65EB5-526D-4D8B-B293-E1A63AED0400}" type="sibTrans" cxnId="{9BD6136E-C528-4324-857F-6117DF984B09}">
      <dgm:prSet/>
      <dgm:spPr/>
      <dgm:t>
        <a:bodyPr/>
        <a:lstStyle/>
        <a:p>
          <a:endParaRPr lang="en-US"/>
        </a:p>
      </dgm:t>
    </dgm:pt>
    <dgm:pt modelId="{57D06EAC-C2AF-44AA-AE48-56785A35781C}">
      <dgm:prSet phldrT="[Text]"/>
      <dgm:spPr/>
      <dgm:t>
        <a:bodyPr/>
        <a:lstStyle/>
        <a:p>
          <a:r>
            <a:rPr lang="en-US" dirty="0"/>
            <a:t>CHC</a:t>
          </a:r>
        </a:p>
      </dgm:t>
    </dgm:pt>
    <dgm:pt modelId="{3BAEF020-0164-4A03-AC33-E836FD0220B8}" type="parTrans" cxnId="{459DF9CA-C3D3-43EF-921A-D9B377FD55C0}">
      <dgm:prSet/>
      <dgm:spPr/>
      <dgm:t>
        <a:bodyPr/>
        <a:lstStyle/>
        <a:p>
          <a:endParaRPr lang="en-US"/>
        </a:p>
      </dgm:t>
    </dgm:pt>
    <dgm:pt modelId="{9876DB90-8933-4947-AE93-D1C9D8CE9ED9}" type="sibTrans" cxnId="{459DF9CA-C3D3-43EF-921A-D9B377FD55C0}">
      <dgm:prSet/>
      <dgm:spPr/>
      <dgm:t>
        <a:bodyPr/>
        <a:lstStyle/>
        <a:p>
          <a:endParaRPr lang="en-US"/>
        </a:p>
      </dgm:t>
    </dgm:pt>
    <dgm:pt modelId="{90848603-606E-4BBF-B07C-9DFAE937F6CF}">
      <dgm:prSet phldrT="[Text]"/>
      <dgm:spPr/>
      <dgm:t>
        <a:bodyPr/>
        <a:lstStyle/>
        <a:p>
          <a:r>
            <a:rPr lang="en-US" dirty="0"/>
            <a:t>TSDB</a:t>
          </a:r>
        </a:p>
      </dgm:t>
    </dgm:pt>
    <dgm:pt modelId="{56BEF451-0907-411C-BFDE-36C4B5BB3BB9}" type="parTrans" cxnId="{32F0BF60-7270-4E1A-9D7E-744AE455C71D}">
      <dgm:prSet/>
      <dgm:spPr/>
      <dgm:t>
        <a:bodyPr/>
        <a:lstStyle/>
        <a:p>
          <a:endParaRPr lang="en-US"/>
        </a:p>
      </dgm:t>
    </dgm:pt>
    <dgm:pt modelId="{01887FAE-59AB-4F79-A943-89D29A3BA2B5}" type="sibTrans" cxnId="{32F0BF60-7270-4E1A-9D7E-744AE455C71D}">
      <dgm:prSet/>
      <dgm:spPr/>
      <dgm:t>
        <a:bodyPr/>
        <a:lstStyle/>
        <a:p>
          <a:endParaRPr lang="en-US"/>
        </a:p>
      </dgm:t>
    </dgm:pt>
    <dgm:pt modelId="{B2F6569B-0FEB-4F14-8403-6D82889C60B5}">
      <dgm:prSet custT="1"/>
      <dgm:spPr/>
      <dgm:t>
        <a:bodyPr/>
        <a:lstStyle/>
        <a:p>
          <a:r>
            <a:rPr lang="en-US" sz="1800" dirty="0" err="1"/>
            <a:t>Unisim</a:t>
          </a:r>
          <a:r>
            <a:rPr lang="en-US" sz="1800" dirty="0"/>
            <a:t> Output Tags</a:t>
          </a:r>
        </a:p>
      </dgm:t>
    </dgm:pt>
    <dgm:pt modelId="{5D76CC8B-56DF-49AE-9924-409462051C6B}" type="parTrans" cxnId="{9594B6FF-5CA4-419A-85B5-37165E1AF8F4}">
      <dgm:prSet/>
      <dgm:spPr/>
      <dgm:t>
        <a:bodyPr/>
        <a:lstStyle/>
        <a:p>
          <a:endParaRPr lang="en-US"/>
        </a:p>
      </dgm:t>
    </dgm:pt>
    <dgm:pt modelId="{F8B8BC2F-5A88-4613-B8D2-F0044B939BEB}" type="sibTrans" cxnId="{9594B6FF-5CA4-419A-85B5-37165E1AF8F4}">
      <dgm:prSet/>
      <dgm:spPr/>
      <dgm:t>
        <a:bodyPr/>
        <a:lstStyle/>
        <a:p>
          <a:endParaRPr lang="en-US"/>
        </a:p>
      </dgm:t>
    </dgm:pt>
    <dgm:pt modelId="{209E7EC1-3F89-4123-B074-F39936770D14}">
      <dgm:prSet custT="1"/>
      <dgm:spPr/>
      <dgm:t>
        <a:bodyPr/>
        <a:lstStyle/>
        <a:p>
          <a:r>
            <a:rPr lang="en-US" sz="1800" dirty="0"/>
            <a:t>MR Output Tags</a:t>
          </a:r>
        </a:p>
      </dgm:t>
    </dgm:pt>
    <dgm:pt modelId="{BCFB84BC-0118-4322-B543-F0B575C9165B}" type="parTrans" cxnId="{6BBBA91E-E445-499D-AB42-1D065F1C81D2}">
      <dgm:prSet/>
      <dgm:spPr/>
      <dgm:t>
        <a:bodyPr/>
        <a:lstStyle/>
        <a:p>
          <a:endParaRPr lang="en-US"/>
        </a:p>
      </dgm:t>
    </dgm:pt>
    <dgm:pt modelId="{69B6E53F-EF28-456C-BD24-E58A023519A8}" type="sibTrans" cxnId="{6BBBA91E-E445-499D-AB42-1D065F1C81D2}">
      <dgm:prSet/>
      <dgm:spPr/>
      <dgm:t>
        <a:bodyPr/>
        <a:lstStyle/>
        <a:p>
          <a:endParaRPr lang="en-US"/>
        </a:p>
      </dgm:t>
    </dgm:pt>
    <dgm:pt modelId="{D956AC1D-3D58-4B67-8780-D63F4A57ED78}">
      <dgm:prSet custT="1"/>
      <dgm:spPr/>
      <dgm:t>
        <a:bodyPr/>
        <a:lstStyle/>
        <a:p>
          <a:r>
            <a:rPr lang="en-US" sz="1800" dirty="0"/>
            <a:t>Calc Tags</a:t>
          </a:r>
        </a:p>
      </dgm:t>
    </dgm:pt>
    <dgm:pt modelId="{BB321CDF-DF44-45DB-B7BA-21C6434D8A09}" type="parTrans" cxnId="{66331CA1-2672-4B72-8CBD-7178957BA8E0}">
      <dgm:prSet/>
      <dgm:spPr/>
      <dgm:t>
        <a:bodyPr/>
        <a:lstStyle/>
        <a:p>
          <a:endParaRPr lang="en-US"/>
        </a:p>
      </dgm:t>
    </dgm:pt>
    <dgm:pt modelId="{0C24983D-C56B-4B70-BA7A-F7F18984DB1B}" type="sibTrans" cxnId="{66331CA1-2672-4B72-8CBD-7178957BA8E0}">
      <dgm:prSet/>
      <dgm:spPr/>
      <dgm:t>
        <a:bodyPr/>
        <a:lstStyle/>
        <a:p>
          <a:endParaRPr lang="en-US"/>
        </a:p>
      </dgm:t>
    </dgm:pt>
    <dgm:pt modelId="{5FE24609-8D7F-421D-AB13-C7CF50D56A97}">
      <dgm:prSet custT="1"/>
      <dgm:spPr/>
      <dgm:t>
        <a:bodyPr/>
        <a:lstStyle/>
        <a:p>
          <a:r>
            <a:rPr lang="en-US" sz="1800" dirty="0"/>
            <a:t>Internal Cloud Collector</a:t>
          </a:r>
        </a:p>
      </dgm:t>
    </dgm:pt>
    <dgm:pt modelId="{DA5C7846-655D-46DC-868E-7D42E60695B2}" type="parTrans" cxnId="{B6089F45-AA89-4B7F-83AC-1AA5509A7AD1}">
      <dgm:prSet/>
      <dgm:spPr/>
      <dgm:t>
        <a:bodyPr/>
        <a:lstStyle/>
        <a:p>
          <a:endParaRPr lang="en-US"/>
        </a:p>
      </dgm:t>
    </dgm:pt>
    <dgm:pt modelId="{E76930DB-0B96-462E-B3CA-1C2AF329FF79}" type="sibTrans" cxnId="{B6089F45-AA89-4B7F-83AC-1AA5509A7AD1}">
      <dgm:prSet/>
      <dgm:spPr/>
      <dgm:t>
        <a:bodyPr/>
        <a:lstStyle/>
        <a:p>
          <a:endParaRPr lang="en-US"/>
        </a:p>
      </dgm:t>
    </dgm:pt>
    <dgm:pt modelId="{696224CA-2FFE-4B91-AF92-D62C635D8FDA}">
      <dgm:prSet custT="1"/>
      <dgm:spPr/>
      <dgm:t>
        <a:bodyPr/>
        <a:lstStyle/>
        <a:p>
          <a:r>
            <a:rPr lang="en-US" sz="1800" dirty="0"/>
            <a:t>e-PHD tags added to cloud collector</a:t>
          </a:r>
        </a:p>
      </dgm:t>
    </dgm:pt>
    <dgm:pt modelId="{FD02C299-D7DC-4EE8-85A6-64A6950C76B7}" type="parTrans" cxnId="{318503A4-2E83-4067-A725-CA284195F9B3}">
      <dgm:prSet/>
      <dgm:spPr/>
      <dgm:t>
        <a:bodyPr/>
        <a:lstStyle/>
        <a:p>
          <a:endParaRPr lang="en-US"/>
        </a:p>
      </dgm:t>
    </dgm:pt>
    <dgm:pt modelId="{54C5A4BD-FE19-4B1A-9255-11A6A7FC5AD4}" type="sibTrans" cxnId="{318503A4-2E83-4067-A725-CA284195F9B3}">
      <dgm:prSet/>
      <dgm:spPr/>
      <dgm:t>
        <a:bodyPr/>
        <a:lstStyle/>
        <a:p>
          <a:endParaRPr lang="en-US"/>
        </a:p>
      </dgm:t>
    </dgm:pt>
    <dgm:pt modelId="{ADC43E0E-ED79-40AD-B910-DB8E10A9514E}">
      <dgm:prSet custT="1"/>
      <dgm:spPr/>
      <dgm:t>
        <a:bodyPr/>
        <a:lstStyle/>
        <a:p>
          <a:r>
            <a:rPr lang="en-US" sz="1800" dirty="0"/>
            <a:t>TSDB has access to Tags added to CHC</a:t>
          </a:r>
        </a:p>
      </dgm:t>
    </dgm:pt>
    <dgm:pt modelId="{51F838A1-118C-4B4B-8200-E8464F216885}" type="parTrans" cxnId="{B956D7CD-3A3E-4DA0-BAAB-F74499B39302}">
      <dgm:prSet/>
      <dgm:spPr/>
      <dgm:t>
        <a:bodyPr/>
        <a:lstStyle/>
        <a:p>
          <a:endParaRPr lang="en-US"/>
        </a:p>
      </dgm:t>
    </dgm:pt>
    <dgm:pt modelId="{EE0779C7-8301-4030-AB20-1BD642E261A0}" type="sibTrans" cxnId="{B956D7CD-3A3E-4DA0-BAAB-F74499B39302}">
      <dgm:prSet/>
      <dgm:spPr/>
      <dgm:t>
        <a:bodyPr/>
        <a:lstStyle/>
        <a:p>
          <a:endParaRPr lang="en-US"/>
        </a:p>
      </dgm:t>
    </dgm:pt>
    <dgm:pt modelId="{81FD9075-C383-4D03-A2F0-C3448DF136D6}">
      <dgm:prSet custT="1"/>
      <dgm:spPr/>
      <dgm:t>
        <a:bodyPr/>
        <a:lstStyle/>
        <a:p>
          <a:r>
            <a:rPr lang="en-US" sz="1800" dirty="0"/>
            <a:t>Dashboard refers Tags from TSDB</a:t>
          </a:r>
        </a:p>
      </dgm:t>
    </dgm:pt>
    <dgm:pt modelId="{498A5A54-A0DC-4E80-9775-4106B5185472}" type="parTrans" cxnId="{40DD32A4-EE87-43A8-BE02-CCA8BAF157C0}">
      <dgm:prSet/>
      <dgm:spPr/>
      <dgm:t>
        <a:bodyPr/>
        <a:lstStyle/>
        <a:p>
          <a:endParaRPr lang="en-US"/>
        </a:p>
      </dgm:t>
    </dgm:pt>
    <dgm:pt modelId="{48586B40-AA02-4C2F-9A87-8F314CC5394F}" type="sibTrans" cxnId="{40DD32A4-EE87-43A8-BE02-CCA8BAF157C0}">
      <dgm:prSet/>
      <dgm:spPr/>
      <dgm:t>
        <a:bodyPr/>
        <a:lstStyle/>
        <a:p>
          <a:endParaRPr lang="en-US"/>
        </a:p>
      </dgm:t>
    </dgm:pt>
    <dgm:pt modelId="{BAF96D39-6A89-4F3E-BB95-C31AEB98C0C7}" type="pres">
      <dgm:prSet presAssocID="{A7039CB7-9C62-4235-859C-7999AFED78AA}" presName="Name0" presStyleCnt="0">
        <dgm:presLayoutVars>
          <dgm:dir/>
          <dgm:animLvl val="lvl"/>
          <dgm:resizeHandles val="exact"/>
        </dgm:presLayoutVars>
      </dgm:prSet>
      <dgm:spPr/>
    </dgm:pt>
    <dgm:pt modelId="{58B83CE4-62EC-47E9-94B6-AC91B2743DA6}" type="pres">
      <dgm:prSet presAssocID="{A7039CB7-9C62-4235-859C-7999AFED78AA}" presName="tSp" presStyleCnt="0"/>
      <dgm:spPr/>
    </dgm:pt>
    <dgm:pt modelId="{05894227-559C-49D7-8F4F-7803CBA40212}" type="pres">
      <dgm:prSet presAssocID="{A7039CB7-9C62-4235-859C-7999AFED78AA}" presName="bSp" presStyleCnt="0"/>
      <dgm:spPr/>
    </dgm:pt>
    <dgm:pt modelId="{DEDF7DEB-358D-4F33-8937-B39A91A7CE2C}" type="pres">
      <dgm:prSet presAssocID="{A7039CB7-9C62-4235-859C-7999AFED78AA}" presName="process" presStyleCnt="0"/>
      <dgm:spPr/>
    </dgm:pt>
    <dgm:pt modelId="{B38FBF22-1329-4B2B-BEBD-85B81FA8B808}" type="pres">
      <dgm:prSet presAssocID="{5322B007-1A72-4F68-8847-59796079BBBF}" presName="composite1" presStyleCnt="0"/>
      <dgm:spPr/>
    </dgm:pt>
    <dgm:pt modelId="{586DC072-A7C0-4B1B-872A-1D7FD6A77EDB}" type="pres">
      <dgm:prSet presAssocID="{5322B007-1A72-4F68-8847-59796079BBBF}" presName="dummyNode1" presStyleLbl="node1" presStyleIdx="0" presStyleCnt="3"/>
      <dgm:spPr/>
    </dgm:pt>
    <dgm:pt modelId="{A73FF358-73DB-492D-AE17-33CC37402215}" type="pres">
      <dgm:prSet presAssocID="{5322B007-1A72-4F68-8847-59796079BBBF}" presName="childNode1" presStyleLbl="bgAcc1" presStyleIdx="0" presStyleCnt="3">
        <dgm:presLayoutVars>
          <dgm:bulletEnabled val="1"/>
        </dgm:presLayoutVars>
      </dgm:prSet>
      <dgm:spPr/>
    </dgm:pt>
    <dgm:pt modelId="{7FF1C906-FA7D-4531-BF80-9A94865CE241}" type="pres">
      <dgm:prSet presAssocID="{5322B007-1A72-4F68-8847-59796079BBBF}" presName="childNode1tx" presStyleLbl="bgAcc1" presStyleIdx="0" presStyleCnt="3">
        <dgm:presLayoutVars>
          <dgm:bulletEnabled val="1"/>
        </dgm:presLayoutVars>
      </dgm:prSet>
      <dgm:spPr/>
    </dgm:pt>
    <dgm:pt modelId="{92B19F9C-3B41-4E87-957B-80CCAFCFEEC8}" type="pres">
      <dgm:prSet presAssocID="{5322B007-1A72-4F68-8847-59796079BBBF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367C6905-0E77-4B53-8DA2-FC3692250EAB}" type="pres">
      <dgm:prSet presAssocID="{5322B007-1A72-4F68-8847-59796079BBBF}" presName="connSite1" presStyleCnt="0"/>
      <dgm:spPr/>
    </dgm:pt>
    <dgm:pt modelId="{8C0A85B4-E064-4D7E-A6B2-AA9E2B5F5FD9}" type="pres">
      <dgm:prSet presAssocID="{98B65EB5-526D-4D8B-B293-E1A63AED0400}" presName="Name9" presStyleLbl="sibTrans2D1" presStyleIdx="0" presStyleCnt="2"/>
      <dgm:spPr/>
    </dgm:pt>
    <dgm:pt modelId="{9FDFAF74-5F53-4781-B79B-40EB66EFF687}" type="pres">
      <dgm:prSet presAssocID="{57D06EAC-C2AF-44AA-AE48-56785A35781C}" presName="composite2" presStyleCnt="0"/>
      <dgm:spPr/>
    </dgm:pt>
    <dgm:pt modelId="{DF3C6943-967F-45E0-86AE-70DD495B9A41}" type="pres">
      <dgm:prSet presAssocID="{57D06EAC-C2AF-44AA-AE48-56785A35781C}" presName="dummyNode2" presStyleLbl="node1" presStyleIdx="0" presStyleCnt="3"/>
      <dgm:spPr/>
    </dgm:pt>
    <dgm:pt modelId="{129274A4-262F-48E8-8D37-2652C24334EB}" type="pres">
      <dgm:prSet presAssocID="{57D06EAC-C2AF-44AA-AE48-56785A35781C}" presName="childNode2" presStyleLbl="bgAcc1" presStyleIdx="1" presStyleCnt="3">
        <dgm:presLayoutVars>
          <dgm:bulletEnabled val="1"/>
        </dgm:presLayoutVars>
      </dgm:prSet>
      <dgm:spPr/>
    </dgm:pt>
    <dgm:pt modelId="{C1A3D291-B9D4-4FD9-9D8F-BE5E59081B4D}" type="pres">
      <dgm:prSet presAssocID="{57D06EAC-C2AF-44AA-AE48-56785A35781C}" presName="childNode2tx" presStyleLbl="bgAcc1" presStyleIdx="1" presStyleCnt="3">
        <dgm:presLayoutVars>
          <dgm:bulletEnabled val="1"/>
        </dgm:presLayoutVars>
      </dgm:prSet>
      <dgm:spPr/>
    </dgm:pt>
    <dgm:pt modelId="{986ABF90-22DD-4B3C-8B11-743A9B8FB50F}" type="pres">
      <dgm:prSet presAssocID="{57D06EAC-C2AF-44AA-AE48-56785A35781C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099DC8DE-716D-4B28-9C33-1629E6629AA9}" type="pres">
      <dgm:prSet presAssocID="{57D06EAC-C2AF-44AA-AE48-56785A35781C}" presName="connSite2" presStyleCnt="0"/>
      <dgm:spPr/>
    </dgm:pt>
    <dgm:pt modelId="{FF139866-8D9A-4E1E-8F81-DA416F574591}" type="pres">
      <dgm:prSet presAssocID="{9876DB90-8933-4947-AE93-D1C9D8CE9ED9}" presName="Name18" presStyleLbl="sibTrans2D1" presStyleIdx="1" presStyleCnt="2"/>
      <dgm:spPr/>
    </dgm:pt>
    <dgm:pt modelId="{27E27DBD-2061-48C3-8962-9FEE0FEE8385}" type="pres">
      <dgm:prSet presAssocID="{90848603-606E-4BBF-B07C-9DFAE937F6CF}" presName="composite1" presStyleCnt="0"/>
      <dgm:spPr/>
    </dgm:pt>
    <dgm:pt modelId="{1C162D37-BE43-4FA8-9F17-43C30B261213}" type="pres">
      <dgm:prSet presAssocID="{90848603-606E-4BBF-B07C-9DFAE937F6CF}" presName="dummyNode1" presStyleLbl="node1" presStyleIdx="1" presStyleCnt="3"/>
      <dgm:spPr/>
    </dgm:pt>
    <dgm:pt modelId="{F0C8B467-85AD-40B4-BBE1-3B79B721B060}" type="pres">
      <dgm:prSet presAssocID="{90848603-606E-4BBF-B07C-9DFAE937F6CF}" presName="childNode1" presStyleLbl="bgAcc1" presStyleIdx="2" presStyleCnt="3">
        <dgm:presLayoutVars>
          <dgm:bulletEnabled val="1"/>
        </dgm:presLayoutVars>
      </dgm:prSet>
      <dgm:spPr/>
    </dgm:pt>
    <dgm:pt modelId="{64ED55A4-87B4-4336-81D2-591D9FE92D54}" type="pres">
      <dgm:prSet presAssocID="{90848603-606E-4BBF-B07C-9DFAE937F6CF}" presName="childNode1tx" presStyleLbl="bgAcc1" presStyleIdx="2" presStyleCnt="3">
        <dgm:presLayoutVars>
          <dgm:bulletEnabled val="1"/>
        </dgm:presLayoutVars>
      </dgm:prSet>
      <dgm:spPr/>
    </dgm:pt>
    <dgm:pt modelId="{44673F5B-F141-4AE1-B125-3F79B98459E4}" type="pres">
      <dgm:prSet presAssocID="{90848603-606E-4BBF-B07C-9DFAE937F6CF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13743B47-2820-48EC-98C8-1BAB089E3F0D}" type="pres">
      <dgm:prSet presAssocID="{90848603-606E-4BBF-B07C-9DFAE937F6CF}" presName="connSite1" presStyleCnt="0"/>
      <dgm:spPr/>
    </dgm:pt>
  </dgm:ptLst>
  <dgm:cxnLst>
    <dgm:cxn modelId="{6BBBA91E-E445-499D-AB42-1D065F1C81D2}" srcId="{5322B007-1A72-4F68-8847-59796079BBBF}" destId="{209E7EC1-3F89-4123-B074-F39936770D14}" srcOrd="1" destOrd="0" parTransId="{BCFB84BC-0118-4322-B543-F0B575C9165B}" sibTransId="{69B6E53F-EF28-456C-BD24-E58A023519A8}"/>
    <dgm:cxn modelId="{6B2EA324-B047-4873-9C99-DC94E911E578}" type="presOf" srcId="{B2F6569B-0FEB-4F14-8403-6D82889C60B5}" destId="{A73FF358-73DB-492D-AE17-33CC37402215}" srcOrd="0" destOrd="0" presId="urn:microsoft.com/office/officeart/2005/8/layout/hProcess4"/>
    <dgm:cxn modelId="{7FDEBC3A-6A27-4912-9D30-E53F75C4C03E}" type="presOf" srcId="{57D06EAC-C2AF-44AA-AE48-56785A35781C}" destId="{986ABF90-22DD-4B3C-8B11-743A9B8FB50F}" srcOrd="0" destOrd="0" presId="urn:microsoft.com/office/officeart/2005/8/layout/hProcess4"/>
    <dgm:cxn modelId="{32F0BF60-7270-4E1A-9D7E-744AE455C71D}" srcId="{A7039CB7-9C62-4235-859C-7999AFED78AA}" destId="{90848603-606E-4BBF-B07C-9DFAE937F6CF}" srcOrd="2" destOrd="0" parTransId="{56BEF451-0907-411C-BFDE-36C4B5BB3BB9}" sibTransId="{01887FAE-59AB-4F79-A943-89D29A3BA2B5}"/>
    <dgm:cxn modelId="{B6089F45-AA89-4B7F-83AC-1AA5509A7AD1}" srcId="{57D06EAC-C2AF-44AA-AE48-56785A35781C}" destId="{5FE24609-8D7F-421D-AB13-C7CF50D56A97}" srcOrd="0" destOrd="0" parTransId="{DA5C7846-655D-46DC-868E-7D42E60695B2}" sibTransId="{E76930DB-0B96-462E-B3CA-1C2AF329FF79}"/>
    <dgm:cxn modelId="{4D370F6A-6A73-4482-8A79-FF9E790600BA}" type="presOf" srcId="{ADC43E0E-ED79-40AD-B910-DB8E10A9514E}" destId="{F0C8B467-85AD-40B4-BBE1-3B79B721B060}" srcOrd="0" destOrd="0" presId="urn:microsoft.com/office/officeart/2005/8/layout/hProcess4"/>
    <dgm:cxn modelId="{9BD6136E-C528-4324-857F-6117DF984B09}" srcId="{A7039CB7-9C62-4235-859C-7999AFED78AA}" destId="{5322B007-1A72-4F68-8847-59796079BBBF}" srcOrd="0" destOrd="0" parTransId="{E80BB1AB-A49D-4AA8-A37C-CEF6C7BF2992}" sibTransId="{98B65EB5-526D-4D8B-B293-E1A63AED0400}"/>
    <dgm:cxn modelId="{10026154-672E-43BB-9C23-CDE813B3EE0D}" type="presOf" srcId="{81FD9075-C383-4D03-A2F0-C3448DF136D6}" destId="{64ED55A4-87B4-4336-81D2-591D9FE92D54}" srcOrd="1" destOrd="1" presId="urn:microsoft.com/office/officeart/2005/8/layout/hProcess4"/>
    <dgm:cxn modelId="{6BE10056-1CAB-4215-A1BC-30543D283F95}" type="presOf" srcId="{5FE24609-8D7F-421D-AB13-C7CF50D56A97}" destId="{129274A4-262F-48E8-8D37-2652C24334EB}" srcOrd="0" destOrd="0" presId="urn:microsoft.com/office/officeart/2005/8/layout/hProcess4"/>
    <dgm:cxn modelId="{0B499685-C1E9-429E-8DF2-CAD42D694114}" type="presOf" srcId="{B2F6569B-0FEB-4F14-8403-6D82889C60B5}" destId="{7FF1C906-FA7D-4531-BF80-9A94865CE241}" srcOrd="1" destOrd="0" presId="urn:microsoft.com/office/officeart/2005/8/layout/hProcess4"/>
    <dgm:cxn modelId="{1165308D-4C0B-465E-AAE8-267F6DF18A08}" type="presOf" srcId="{A7039CB7-9C62-4235-859C-7999AFED78AA}" destId="{BAF96D39-6A89-4F3E-BB95-C31AEB98C0C7}" srcOrd="0" destOrd="0" presId="urn:microsoft.com/office/officeart/2005/8/layout/hProcess4"/>
    <dgm:cxn modelId="{66331CA1-2672-4B72-8CBD-7178957BA8E0}" srcId="{5322B007-1A72-4F68-8847-59796079BBBF}" destId="{D956AC1D-3D58-4B67-8780-D63F4A57ED78}" srcOrd="2" destOrd="0" parTransId="{BB321CDF-DF44-45DB-B7BA-21C6434D8A09}" sibTransId="{0C24983D-C56B-4B70-BA7A-F7F18984DB1B}"/>
    <dgm:cxn modelId="{0A6941A1-E05D-491B-BE27-374BB4CE12EA}" type="presOf" srcId="{696224CA-2FFE-4B91-AF92-D62C635D8FDA}" destId="{C1A3D291-B9D4-4FD9-9D8F-BE5E59081B4D}" srcOrd="1" destOrd="1" presId="urn:microsoft.com/office/officeart/2005/8/layout/hProcess4"/>
    <dgm:cxn modelId="{9332DDA1-036D-4E97-ABA7-F4B256AB7E53}" type="presOf" srcId="{9876DB90-8933-4947-AE93-D1C9D8CE9ED9}" destId="{FF139866-8D9A-4E1E-8F81-DA416F574591}" srcOrd="0" destOrd="0" presId="urn:microsoft.com/office/officeart/2005/8/layout/hProcess4"/>
    <dgm:cxn modelId="{318503A4-2E83-4067-A725-CA284195F9B3}" srcId="{57D06EAC-C2AF-44AA-AE48-56785A35781C}" destId="{696224CA-2FFE-4B91-AF92-D62C635D8FDA}" srcOrd="1" destOrd="0" parTransId="{FD02C299-D7DC-4EE8-85A6-64A6950C76B7}" sibTransId="{54C5A4BD-FE19-4B1A-9255-11A6A7FC5AD4}"/>
    <dgm:cxn modelId="{40DD32A4-EE87-43A8-BE02-CCA8BAF157C0}" srcId="{90848603-606E-4BBF-B07C-9DFAE937F6CF}" destId="{81FD9075-C383-4D03-A2F0-C3448DF136D6}" srcOrd="1" destOrd="0" parTransId="{498A5A54-A0DC-4E80-9775-4106B5185472}" sibTransId="{48586B40-AA02-4C2F-9A87-8F314CC5394F}"/>
    <dgm:cxn modelId="{56F427A7-ACA7-4941-9662-C2B3FBA7D25D}" type="presOf" srcId="{98B65EB5-526D-4D8B-B293-E1A63AED0400}" destId="{8C0A85B4-E064-4D7E-A6B2-AA9E2B5F5FD9}" srcOrd="0" destOrd="0" presId="urn:microsoft.com/office/officeart/2005/8/layout/hProcess4"/>
    <dgm:cxn modelId="{9A1EBEAF-E6B5-41EB-878B-867B0193CE70}" type="presOf" srcId="{696224CA-2FFE-4B91-AF92-D62C635D8FDA}" destId="{129274A4-262F-48E8-8D37-2652C24334EB}" srcOrd="0" destOrd="1" presId="urn:microsoft.com/office/officeart/2005/8/layout/hProcess4"/>
    <dgm:cxn modelId="{3B74BEBA-EEE9-467A-A3F1-E08F8EB27321}" type="presOf" srcId="{81FD9075-C383-4D03-A2F0-C3448DF136D6}" destId="{F0C8B467-85AD-40B4-BBE1-3B79B721B060}" srcOrd="0" destOrd="1" presId="urn:microsoft.com/office/officeart/2005/8/layout/hProcess4"/>
    <dgm:cxn modelId="{C6B87EC5-CB9F-4AB8-A3F0-C3720131404D}" type="presOf" srcId="{90848603-606E-4BBF-B07C-9DFAE937F6CF}" destId="{44673F5B-F141-4AE1-B125-3F79B98459E4}" srcOrd="0" destOrd="0" presId="urn:microsoft.com/office/officeart/2005/8/layout/hProcess4"/>
    <dgm:cxn modelId="{459DF9CA-C3D3-43EF-921A-D9B377FD55C0}" srcId="{A7039CB7-9C62-4235-859C-7999AFED78AA}" destId="{57D06EAC-C2AF-44AA-AE48-56785A35781C}" srcOrd="1" destOrd="0" parTransId="{3BAEF020-0164-4A03-AC33-E836FD0220B8}" sibTransId="{9876DB90-8933-4947-AE93-D1C9D8CE9ED9}"/>
    <dgm:cxn modelId="{B956D7CD-3A3E-4DA0-BAAB-F74499B39302}" srcId="{90848603-606E-4BBF-B07C-9DFAE937F6CF}" destId="{ADC43E0E-ED79-40AD-B910-DB8E10A9514E}" srcOrd="0" destOrd="0" parTransId="{51F838A1-118C-4B4B-8200-E8464F216885}" sibTransId="{EE0779C7-8301-4030-AB20-1BD642E261A0}"/>
    <dgm:cxn modelId="{8DB9ACD0-7C2F-4A44-A978-F50B3D296F3A}" type="presOf" srcId="{209E7EC1-3F89-4123-B074-F39936770D14}" destId="{7FF1C906-FA7D-4531-BF80-9A94865CE241}" srcOrd="1" destOrd="1" presId="urn:microsoft.com/office/officeart/2005/8/layout/hProcess4"/>
    <dgm:cxn modelId="{AB485AD1-830F-4ED8-AAF2-16E2E73E1663}" type="presOf" srcId="{209E7EC1-3F89-4123-B074-F39936770D14}" destId="{A73FF358-73DB-492D-AE17-33CC37402215}" srcOrd="0" destOrd="1" presId="urn:microsoft.com/office/officeart/2005/8/layout/hProcess4"/>
    <dgm:cxn modelId="{C6C900DE-CB15-4FF7-B867-1A28256B1DC2}" type="presOf" srcId="{5FE24609-8D7F-421D-AB13-C7CF50D56A97}" destId="{C1A3D291-B9D4-4FD9-9D8F-BE5E59081B4D}" srcOrd="1" destOrd="0" presId="urn:microsoft.com/office/officeart/2005/8/layout/hProcess4"/>
    <dgm:cxn modelId="{A0EA02EA-465E-43D2-921F-0F1B190F2D6B}" type="presOf" srcId="{D956AC1D-3D58-4B67-8780-D63F4A57ED78}" destId="{7FF1C906-FA7D-4531-BF80-9A94865CE241}" srcOrd="1" destOrd="2" presId="urn:microsoft.com/office/officeart/2005/8/layout/hProcess4"/>
    <dgm:cxn modelId="{598661F4-DC40-415A-82C9-6C651D839605}" type="presOf" srcId="{5322B007-1A72-4F68-8847-59796079BBBF}" destId="{92B19F9C-3B41-4E87-957B-80CCAFCFEEC8}" srcOrd="0" destOrd="0" presId="urn:microsoft.com/office/officeart/2005/8/layout/hProcess4"/>
    <dgm:cxn modelId="{3E641DF6-93E0-47B4-B320-9E3D6C28A6A6}" type="presOf" srcId="{ADC43E0E-ED79-40AD-B910-DB8E10A9514E}" destId="{64ED55A4-87B4-4336-81D2-591D9FE92D54}" srcOrd="1" destOrd="0" presId="urn:microsoft.com/office/officeart/2005/8/layout/hProcess4"/>
    <dgm:cxn modelId="{5DA466FC-1AB2-476E-AE40-5D685FCFCF3F}" type="presOf" srcId="{D956AC1D-3D58-4B67-8780-D63F4A57ED78}" destId="{A73FF358-73DB-492D-AE17-33CC37402215}" srcOrd="0" destOrd="2" presId="urn:microsoft.com/office/officeart/2005/8/layout/hProcess4"/>
    <dgm:cxn modelId="{9594B6FF-5CA4-419A-85B5-37165E1AF8F4}" srcId="{5322B007-1A72-4F68-8847-59796079BBBF}" destId="{B2F6569B-0FEB-4F14-8403-6D82889C60B5}" srcOrd="0" destOrd="0" parTransId="{5D76CC8B-56DF-49AE-9924-409462051C6B}" sibTransId="{F8B8BC2F-5A88-4613-B8D2-F0044B939BEB}"/>
    <dgm:cxn modelId="{7F474809-25E6-4844-9363-7B92BB413A23}" type="presParOf" srcId="{BAF96D39-6A89-4F3E-BB95-C31AEB98C0C7}" destId="{58B83CE4-62EC-47E9-94B6-AC91B2743DA6}" srcOrd="0" destOrd="0" presId="urn:microsoft.com/office/officeart/2005/8/layout/hProcess4"/>
    <dgm:cxn modelId="{B24494B4-E3F5-403F-866D-EE2DEA6F4BFF}" type="presParOf" srcId="{BAF96D39-6A89-4F3E-BB95-C31AEB98C0C7}" destId="{05894227-559C-49D7-8F4F-7803CBA40212}" srcOrd="1" destOrd="0" presId="urn:microsoft.com/office/officeart/2005/8/layout/hProcess4"/>
    <dgm:cxn modelId="{1E4C0C2B-C501-4830-9C17-05BEE78F483C}" type="presParOf" srcId="{BAF96D39-6A89-4F3E-BB95-C31AEB98C0C7}" destId="{DEDF7DEB-358D-4F33-8937-B39A91A7CE2C}" srcOrd="2" destOrd="0" presId="urn:microsoft.com/office/officeart/2005/8/layout/hProcess4"/>
    <dgm:cxn modelId="{8CAC5B05-D629-4B61-9254-8EA84C824CAA}" type="presParOf" srcId="{DEDF7DEB-358D-4F33-8937-B39A91A7CE2C}" destId="{B38FBF22-1329-4B2B-BEBD-85B81FA8B808}" srcOrd="0" destOrd="0" presId="urn:microsoft.com/office/officeart/2005/8/layout/hProcess4"/>
    <dgm:cxn modelId="{884ADA4F-7F5C-4279-AD14-15868F73FA32}" type="presParOf" srcId="{B38FBF22-1329-4B2B-BEBD-85B81FA8B808}" destId="{586DC072-A7C0-4B1B-872A-1D7FD6A77EDB}" srcOrd="0" destOrd="0" presId="urn:microsoft.com/office/officeart/2005/8/layout/hProcess4"/>
    <dgm:cxn modelId="{7F0663B9-2EB6-43C5-B73E-6FBE8C180CB0}" type="presParOf" srcId="{B38FBF22-1329-4B2B-BEBD-85B81FA8B808}" destId="{A73FF358-73DB-492D-AE17-33CC37402215}" srcOrd="1" destOrd="0" presId="urn:microsoft.com/office/officeart/2005/8/layout/hProcess4"/>
    <dgm:cxn modelId="{7FA450AE-BCC7-441C-92ED-EA02F41DE27E}" type="presParOf" srcId="{B38FBF22-1329-4B2B-BEBD-85B81FA8B808}" destId="{7FF1C906-FA7D-4531-BF80-9A94865CE241}" srcOrd="2" destOrd="0" presId="urn:microsoft.com/office/officeart/2005/8/layout/hProcess4"/>
    <dgm:cxn modelId="{5B689425-3C91-42BB-8023-30B074DF11D9}" type="presParOf" srcId="{B38FBF22-1329-4B2B-BEBD-85B81FA8B808}" destId="{92B19F9C-3B41-4E87-957B-80CCAFCFEEC8}" srcOrd="3" destOrd="0" presId="urn:microsoft.com/office/officeart/2005/8/layout/hProcess4"/>
    <dgm:cxn modelId="{6E0B25EE-CFD2-47CC-8664-491015CABD8F}" type="presParOf" srcId="{B38FBF22-1329-4B2B-BEBD-85B81FA8B808}" destId="{367C6905-0E77-4B53-8DA2-FC3692250EAB}" srcOrd="4" destOrd="0" presId="urn:microsoft.com/office/officeart/2005/8/layout/hProcess4"/>
    <dgm:cxn modelId="{617B8085-3AF7-410F-9AEA-D9A7DAB9B51D}" type="presParOf" srcId="{DEDF7DEB-358D-4F33-8937-B39A91A7CE2C}" destId="{8C0A85B4-E064-4D7E-A6B2-AA9E2B5F5FD9}" srcOrd="1" destOrd="0" presId="urn:microsoft.com/office/officeart/2005/8/layout/hProcess4"/>
    <dgm:cxn modelId="{5F6E3ABF-1D95-452C-984E-55694818EC50}" type="presParOf" srcId="{DEDF7DEB-358D-4F33-8937-B39A91A7CE2C}" destId="{9FDFAF74-5F53-4781-B79B-40EB66EFF687}" srcOrd="2" destOrd="0" presId="urn:microsoft.com/office/officeart/2005/8/layout/hProcess4"/>
    <dgm:cxn modelId="{D4AFEE3A-0B71-4F60-821A-D193C252DF7F}" type="presParOf" srcId="{9FDFAF74-5F53-4781-B79B-40EB66EFF687}" destId="{DF3C6943-967F-45E0-86AE-70DD495B9A41}" srcOrd="0" destOrd="0" presId="urn:microsoft.com/office/officeart/2005/8/layout/hProcess4"/>
    <dgm:cxn modelId="{6392800E-2317-46F7-A746-BAEFFE3D82B2}" type="presParOf" srcId="{9FDFAF74-5F53-4781-B79B-40EB66EFF687}" destId="{129274A4-262F-48E8-8D37-2652C24334EB}" srcOrd="1" destOrd="0" presId="urn:microsoft.com/office/officeart/2005/8/layout/hProcess4"/>
    <dgm:cxn modelId="{DF0E9747-E702-4DB4-B365-E22CDAACDED8}" type="presParOf" srcId="{9FDFAF74-5F53-4781-B79B-40EB66EFF687}" destId="{C1A3D291-B9D4-4FD9-9D8F-BE5E59081B4D}" srcOrd="2" destOrd="0" presId="urn:microsoft.com/office/officeart/2005/8/layout/hProcess4"/>
    <dgm:cxn modelId="{7AE26826-5E4C-4F01-ABEF-F2A7EE2759DC}" type="presParOf" srcId="{9FDFAF74-5F53-4781-B79B-40EB66EFF687}" destId="{986ABF90-22DD-4B3C-8B11-743A9B8FB50F}" srcOrd="3" destOrd="0" presId="urn:microsoft.com/office/officeart/2005/8/layout/hProcess4"/>
    <dgm:cxn modelId="{18333030-AC9E-43D5-A64C-5E0EA4D5C6FF}" type="presParOf" srcId="{9FDFAF74-5F53-4781-B79B-40EB66EFF687}" destId="{099DC8DE-716D-4B28-9C33-1629E6629AA9}" srcOrd="4" destOrd="0" presId="urn:microsoft.com/office/officeart/2005/8/layout/hProcess4"/>
    <dgm:cxn modelId="{E0CE2D20-43FD-4A40-A874-11E4DDA17691}" type="presParOf" srcId="{DEDF7DEB-358D-4F33-8937-B39A91A7CE2C}" destId="{FF139866-8D9A-4E1E-8F81-DA416F574591}" srcOrd="3" destOrd="0" presId="urn:microsoft.com/office/officeart/2005/8/layout/hProcess4"/>
    <dgm:cxn modelId="{05722301-5818-48AA-AAF5-09AFD75C1411}" type="presParOf" srcId="{DEDF7DEB-358D-4F33-8937-B39A91A7CE2C}" destId="{27E27DBD-2061-48C3-8962-9FEE0FEE8385}" srcOrd="4" destOrd="0" presId="urn:microsoft.com/office/officeart/2005/8/layout/hProcess4"/>
    <dgm:cxn modelId="{76DEF120-5A71-452E-ABE2-44E0DB9CEA5E}" type="presParOf" srcId="{27E27DBD-2061-48C3-8962-9FEE0FEE8385}" destId="{1C162D37-BE43-4FA8-9F17-43C30B261213}" srcOrd="0" destOrd="0" presId="urn:microsoft.com/office/officeart/2005/8/layout/hProcess4"/>
    <dgm:cxn modelId="{69AB0CF3-A735-43F0-9314-7C4F9C0DF322}" type="presParOf" srcId="{27E27DBD-2061-48C3-8962-9FEE0FEE8385}" destId="{F0C8B467-85AD-40B4-BBE1-3B79B721B060}" srcOrd="1" destOrd="0" presId="urn:microsoft.com/office/officeart/2005/8/layout/hProcess4"/>
    <dgm:cxn modelId="{6D55506E-44E2-434D-982C-59BB9E17E8B1}" type="presParOf" srcId="{27E27DBD-2061-48C3-8962-9FEE0FEE8385}" destId="{64ED55A4-87B4-4336-81D2-591D9FE92D54}" srcOrd="2" destOrd="0" presId="urn:microsoft.com/office/officeart/2005/8/layout/hProcess4"/>
    <dgm:cxn modelId="{D93D093E-4057-42B2-900F-7B9A5D28F521}" type="presParOf" srcId="{27E27DBD-2061-48C3-8962-9FEE0FEE8385}" destId="{44673F5B-F141-4AE1-B125-3F79B98459E4}" srcOrd="3" destOrd="0" presId="urn:microsoft.com/office/officeart/2005/8/layout/hProcess4"/>
    <dgm:cxn modelId="{567DCD09-5A34-43CF-90AA-17CEA3FB543F}" type="presParOf" srcId="{27E27DBD-2061-48C3-8962-9FEE0FEE8385}" destId="{13743B47-2820-48EC-98C8-1BAB089E3F0D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3FC08D9-6150-4883-AE16-93E88DA5952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61B3BB-E00F-40FF-9BBF-B4454FD9F66E}">
      <dgm:prSet phldrT="[Text]"/>
      <dgm:spPr>
        <a:solidFill>
          <a:srgbClr val="00B0F0"/>
        </a:solidFill>
      </dgm:spPr>
      <dgm:t>
        <a:bodyPr/>
        <a:lstStyle/>
        <a:p>
          <a:r>
            <a:rPr lang="en-US" b="1" dirty="0"/>
            <a:t>Time Series Data Base (TSDB)</a:t>
          </a:r>
          <a:endParaRPr lang="en-US" dirty="0"/>
        </a:p>
      </dgm:t>
    </dgm:pt>
    <dgm:pt modelId="{52EDC76E-B08A-4DF5-A921-57F8A613BE7E}" type="parTrans" cxnId="{3C28CB44-15BC-49CE-BE6A-BC1E303B40BD}">
      <dgm:prSet/>
      <dgm:spPr/>
      <dgm:t>
        <a:bodyPr/>
        <a:lstStyle/>
        <a:p>
          <a:endParaRPr lang="en-US"/>
        </a:p>
      </dgm:t>
    </dgm:pt>
    <dgm:pt modelId="{CC60E666-57B8-45ED-9123-58968C5807B9}" type="sibTrans" cxnId="{3C28CB44-15BC-49CE-BE6A-BC1E303B40BD}">
      <dgm:prSet/>
      <dgm:spPr/>
      <dgm:t>
        <a:bodyPr/>
        <a:lstStyle/>
        <a:p>
          <a:endParaRPr lang="en-US"/>
        </a:p>
      </dgm:t>
    </dgm:pt>
    <dgm:pt modelId="{6070F855-8960-49AE-8186-D8525906CD89}">
      <dgm:prSet phldrT="[Text]"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Visualization configuration Mapping</a:t>
          </a:r>
        </a:p>
      </dgm:t>
    </dgm:pt>
    <dgm:pt modelId="{30EE92C8-7409-43B5-AEB7-1B5B7E57AB42}" type="parTrans" cxnId="{1F989623-4DA0-46C7-8A5A-DF8AC5FD6FB3}">
      <dgm:prSet/>
      <dgm:spPr/>
      <dgm:t>
        <a:bodyPr/>
        <a:lstStyle/>
        <a:p>
          <a:endParaRPr lang="en-US"/>
        </a:p>
      </dgm:t>
    </dgm:pt>
    <dgm:pt modelId="{84D98E7B-6EFC-4C34-8E82-C3FDF37FF719}" type="sibTrans" cxnId="{1F989623-4DA0-46C7-8A5A-DF8AC5FD6FB3}">
      <dgm:prSet/>
      <dgm:spPr/>
      <dgm:t>
        <a:bodyPr/>
        <a:lstStyle/>
        <a:p>
          <a:endParaRPr lang="en-US"/>
        </a:p>
      </dgm:t>
    </dgm:pt>
    <dgm:pt modelId="{1E540F80-C554-4DE7-8C42-6885372B02BE}">
      <dgm:prSet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2390" tIns="72390" rIns="72390" bIns="72390" numCol="1" spcCol="1270" anchor="ctr" anchorCtr="0"/>
        <a:lstStyle/>
        <a:p>
          <a:r>
            <a:rPr lang="en-US" sz="19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Dashboards</a:t>
          </a:r>
        </a:p>
      </dgm:t>
    </dgm:pt>
    <dgm:pt modelId="{D48DBF43-28A9-4918-B456-3FA5325DADF4}" type="parTrans" cxnId="{02A7E8F9-50D4-445D-BE8F-10E51A3407F4}">
      <dgm:prSet/>
      <dgm:spPr/>
      <dgm:t>
        <a:bodyPr/>
        <a:lstStyle/>
        <a:p>
          <a:endParaRPr lang="en-US"/>
        </a:p>
      </dgm:t>
    </dgm:pt>
    <dgm:pt modelId="{1A735931-7C16-4E00-8E23-74588D2C3765}" type="sibTrans" cxnId="{02A7E8F9-50D4-445D-BE8F-10E51A3407F4}">
      <dgm:prSet/>
      <dgm:spPr/>
      <dgm:t>
        <a:bodyPr/>
        <a:lstStyle/>
        <a:p>
          <a:endParaRPr lang="en-US"/>
        </a:p>
      </dgm:t>
    </dgm:pt>
    <dgm:pt modelId="{9FAAA9DA-B7F5-468B-AE52-CCF7486EAE99}" type="pres">
      <dgm:prSet presAssocID="{73FC08D9-6150-4883-AE16-93E88DA5952D}" presName="Name0" presStyleCnt="0">
        <dgm:presLayoutVars>
          <dgm:dir/>
          <dgm:resizeHandles val="exact"/>
        </dgm:presLayoutVars>
      </dgm:prSet>
      <dgm:spPr/>
    </dgm:pt>
    <dgm:pt modelId="{E338090B-9D3C-4E2B-9FE3-45188DE2EB4E}" type="pres">
      <dgm:prSet presAssocID="{1461B3BB-E00F-40FF-9BBF-B4454FD9F66E}" presName="node" presStyleLbl="node1" presStyleIdx="0" presStyleCnt="3" custScaleX="82914" custScaleY="36395">
        <dgm:presLayoutVars>
          <dgm:bulletEnabled val="1"/>
        </dgm:presLayoutVars>
      </dgm:prSet>
      <dgm:spPr/>
    </dgm:pt>
    <dgm:pt modelId="{4E8DDB7F-307C-4125-8BA9-213B770D16E6}" type="pres">
      <dgm:prSet presAssocID="{CC60E666-57B8-45ED-9123-58968C5807B9}" presName="sibTrans" presStyleLbl="sibTrans2D1" presStyleIdx="0" presStyleCnt="2" custScaleX="208020" custLinFactNeighborY="1139"/>
      <dgm:spPr/>
    </dgm:pt>
    <dgm:pt modelId="{BEB6CFC6-5E04-4477-9263-0B360D0107BF}" type="pres">
      <dgm:prSet presAssocID="{CC60E666-57B8-45ED-9123-58968C5807B9}" presName="connectorText" presStyleLbl="sibTrans2D1" presStyleIdx="0" presStyleCnt="2"/>
      <dgm:spPr/>
    </dgm:pt>
    <dgm:pt modelId="{F2F7D6C6-63BE-425B-877E-D5CD274D5A0F}" type="pres">
      <dgm:prSet presAssocID="{6070F855-8960-49AE-8186-D8525906CD89}" presName="node" presStyleLbl="node1" presStyleIdx="1" presStyleCnt="3" custScaleY="57266">
        <dgm:presLayoutVars>
          <dgm:bulletEnabled val="1"/>
        </dgm:presLayoutVars>
      </dgm:prSet>
      <dgm:spPr>
        <a:xfrm>
          <a:off x="3981748" y="1592574"/>
          <a:ext cx="3237904" cy="1112531"/>
        </a:xfrm>
        <a:prstGeom prst="roundRect">
          <a:avLst>
            <a:gd name="adj" fmla="val 10000"/>
          </a:avLst>
        </a:prstGeom>
      </dgm:spPr>
    </dgm:pt>
    <dgm:pt modelId="{631ED300-68D0-4B49-A743-E1D70E7397CF}" type="pres">
      <dgm:prSet presAssocID="{84D98E7B-6EFC-4C34-8E82-C3FDF37FF719}" presName="sibTrans" presStyleLbl="sibTrans2D1" presStyleIdx="1" presStyleCnt="2" custScaleX="190058"/>
      <dgm:spPr/>
    </dgm:pt>
    <dgm:pt modelId="{EAA9C8A3-96ED-4121-AEBD-9D518B5ED33B}" type="pres">
      <dgm:prSet presAssocID="{84D98E7B-6EFC-4C34-8E82-C3FDF37FF719}" presName="connectorText" presStyleLbl="sibTrans2D1" presStyleIdx="1" presStyleCnt="2"/>
      <dgm:spPr/>
    </dgm:pt>
    <dgm:pt modelId="{072564DA-3089-4757-880F-3AE1053879C2}" type="pres">
      <dgm:prSet presAssocID="{1E540F80-C554-4DE7-8C42-6885372B02BE}" presName="node" presStyleLbl="node1" presStyleIdx="2" presStyleCnt="3" custScaleX="82914" custScaleY="36395">
        <dgm:presLayoutVars>
          <dgm:bulletEnabled val="1"/>
        </dgm:presLayoutVars>
      </dgm:prSet>
      <dgm:spPr>
        <a:xfrm>
          <a:off x="8514814" y="1795309"/>
          <a:ext cx="2684676" cy="707061"/>
        </a:xfrm>
        <a:prstGeom prst="roundRect">
          <a:avLst>
            <a:gd name="adj" fmla="val 10000"/>
          </a:avLst>
        </a:prstGeom>
      </dgm:spPr>
    </dgm:pt>
  </dgm:ptLst>
  <dgm:cxnLst>
    <dgm:cxn modelId="{60CAD809-4F7A-43C6-9B43-155091B3E594}" type="presOf" srcId="{1461B3BB-E00F-40FF-9BBF-B4454FD9F66E}" destId="{E338090B-9D3C-4E2B-9FE3-45188DE2EB4E}" srcOrd="0" destOrd="0" presId="urn:microsoft.com/office/officeart/2005/8/layout/process1"/>
    <dgm:cxn modelId="{1F989623-4DA0-46C7-8A5A-DF8AC5FD6FB3}" srcId="{73FC08D9-6150-4883-AE16-93E88DA5952D}" destId="{6070F855-8960-49AE-8186-D8525906CD89}" srcOrd="1" destOrd="0" parTransId="{30EE92C8-7409-43B5-AEB7-1B5B7E57AB42}" sibTransId="{84D98E7B-6EFC-4C34-8E82-C3FDF37FF719}"/>
    <dgm:cxn modelId="{DA2A855E-C797-4568-A108-40C6C2A1BF02}" type="presOf" srcId="{6070F855-8960-49AE-8186-D8525906CD89}" destId="{F2F7D6C6-63BE-425B-877E-D5CD274D5A0F}" srcOrd="0" destOrd="0" presId="urn:microsoft.com/office/officeart/2005/8/layout/process1"/>
    <dgm:cxn modelId="{3C28CB44-15BC-49CE-BE6A-BC1E303B40BD}" srcId="{73FC08D9-6150-4883-AE16-93E88DA5952D}" destId="{1461B3BB-E00F-40FF-9BBF-B4454FD9F66E}" srcOrd="0" destOrd="0" parTransId="{52EDC76E-B08A-4DF5-A921-57F8A613BE7E}" sibTransId="{CC60E666-57B8-45ED-9123-58968C5807B9}"/>
    <dgm:cxn modelId="{3EBD3C84-E933-4122-BEEB-B1D4BB8E168B}" type="presOf" srcId="{1E540F80-C554-4DE7-8C42-6885372B02BE}" destId="{072564DA-3089-4757-880F-3AE1053879C2}" srcOrd="0" destOrd="0" presId="urn:microsoft.com/office/officeart/2005/8/layout/process1"/>
    <dgm:cxn modelId="{68D0539E-98D4-4D61-84ED-52575EC341AE}" type="presOf" srcId="{84D98E7B-6EFC-4C34-8E82-C3FDF37FF719}" destId="{631ED300-68D0-4B49-A743-E1D70E7397CF}" srcOrd="0" destOrd="0" presId="urn:microsoft.com/office/officeart/2005/8/layout/process1"/>
    <dgm:cxn modelId="{9DCF8CA8-A3C3-45EF-93C9-0D1E926F69EA}" type="presOf" srcId="{CC60E666-57B8-45ED-9123-58968C5807B9}" destId="{BEB6CFC6-5E04-4477-9263-0B360D0107BF}" srcOrd="1" destOrd="0" presId="urn:microsoft.com/office/officeart/2005/8/layout/process1"/>
    <dgm:cxn modelId="{4AFBADD7-AA2C-46CF-87DE-16BCFC9E7EF8}" type="presOf" srcId="{73FC08D9-6150-4883-AE16-93E88DA5952D}" destId="{9FAAA9DA-B7F5-468B-AE52-CCF7486EAE99}" srcOrd="0" destOrd="0" presId="urn:microsoft.com/office/officeart/2005/8/layout/process1"/>
    <dgm:cxn modelId="{870CFAEB-E494-4982-89F7-418E1D1A4B89}" type="presOf" srcId="{CC60E666-57B8-45ED-9123-58968C5807B9}" destId="{4E8DDB7F-307C-4125-8BA9-213B770D16E6}" srcOrd="0" destOrd="0" presId="urn:microsoft.com/office/officeart/2005/8/layout/process1"/>
    <dgm:cxn modelId="{4B0C63F4-B464-4AD3-B6E0-856BD6C7B155}" type="presOf" srcId="{84D98E7B-6EFC-4C34-8E82-C3FDF37FF719}" destId="{EAA9C8A3-96ED-4121-AEBD-9D518B5ED33B}" srcOrd="1" destOrd="0" presId="urn:microsoft.com/office/officeart/2005/8/layout/process1"/>
    <dgm:cxn modelId="{02A7E8F9-50D4-445D-BE8F-10E51A3407F4}" srcId="{73FC08D9-6150-4883-AE16-93E88DA5952D}" destId="{1E540F80-C554-4DE7-8C42-6885372B02BE}" srcOrd="2" destOrd="0" parTransId="{D48DBF43-28A9-4918-B456-3FA5325DADF4}" sibTransId="{1A735931-7C16-4E00-8E23-74588D2C3765}"/>
    <dgm:cxn modelId="{200567FF-5DE6-4925-8894-4E99DC2F3476}" type="presParOf" srcId="{9FAAA9DA-B7F5-468B-AE52-CCF7486EAE99}" destId="{E338090B-9D3C-4E2B-9FE3-45188DE2EB4E}" srcOrd="0" destOrd="0" presId="urn:microsoft.com/office/officeart/2005/8/layout/process1"/>
    <dgm:cxn modelId="{ADCDBE22-090C-41DB-A554-17E0998E3D81}" type="presParOf" srcId="{9FAAA9DA-B7F5-468B-AE52-CCF7486EAE99}" destId="{4E8DDB7F-307C-4125-8BA9-213B770D16E6}" srcOrd="1" destOrd="0" presId="urn:microsoft.com/office/officeart/2005/8/layout/process1"/>
    <dgm:cxn modelId="{37C4B312-A4A1-4F11-887D-E33C14C1A4F0}" type="presParOf" srcId="{4E8DDB7F-307C-4125-8BA9-213B770D16E6}" destId="{BEB6CFC6-5E04-4477-9263-0B360D0107BF}" srcOrd="0" destOrd="0" presId="urn:microsoft.com/office/officeart/2005/8/layout/process1"/>
    <dgm:cxn modelId="{502F4D2D-4AA8-4B5C-9563-6F9AC977513D}" type="presParOf" srcId="{9FAAA9DA-B7F5-468B-AE52-CCF7486EAE99}" destId="{F2F7D6C6-63BE-425B-877E-D5CD274D5A0F}" srcOrd="2" destOrd="0" presId="urn:microsoft.com/office/officeart/2005/8/layout/process1"/>
    <dgm:cxn modelId="{1690BC30-0020-4550-8D5D-56F1C489839A}" type="presParOf" srcId="{9FAAA9DA-B7F5-468B-AE52-CCF7486EAE99}" destId="{631ED300-68D0-4B49-A743-E1D70E7397CF}" srcOrd="3" destOrd="0" presId="urn:microsoft.com/office/officeart/2005/8/layout/process1"/>
    <dgm:cxn modelId="{153D632C-4906-4F22-AD1C-DB9CDA8D13A7}" type="presParOf" srcId="{631ED300-68D0-4B49-A743-E1D70E7397CF}" destId="{EAA9C8A3-96ED-4121-AEBD-9D518B5ED33B}" srcOrd="0" destOrd="0" presId="urn:microsoft.com/office/officeart/2005/8/layout/process1"/>
    <dgm:cxn modelId="{89D7E259-04DC-44E1-BB93-1E745A2AB854}" type="presParOf" srcId="{9FAAA9DA-B7F5-468B-AE52-CCF7486EAE99}" destId="{072564DA-3089-4757-880F-3AE1053879C2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49287A-CC6E-487C-B3BE-534EE328D5F1}">
      <dsp:nvSpPr>
        <dsp:cNvPr id="0" name=""/>
        <dsp:cNvSpPr/>
      </dsp:nvSpPr>
      <dsp:spPr>
        <a:xfrm>
          <a:off x="0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cheduling of the SSD Algorithm-Windows Scheduler</a:t>
          </a:r>
        </a:p>
      </dsp:txBody>
      <dsp:txXfrm>
        <a:off x="41010" y="1369686"/>
        <a:ext cx="1318155" cy="1557989"/>
      </dsp:txXfrm>
    </dsp:sp>
    <dsp:sp modelId="{41B46D50-E655-4EE4-A14C-4B50AB9E230A}">
      <dsp:nvSpPr>
        <dsp:cNvPr id="0" name=""/>
        <dsp:cNvSpPr/>
      </dsp:nvSpPr>
      <dsp:spPr>
        <a:xfrm>
          <a:off x="1414547" y="1975059"/>
          <a:ext cx="548127" cy="347243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414547" y="2044508"/>
        <a:ext cx="443954" cy="208345"/>
      </dsp:txXfrm>
    </dsp:sp>
    <dsp:sp modelId="{816EB92E-FBC1-4097-8DCC-B2FE6ED0186C}">
      <dsp:nvSpPr>
        <dsp:cNvPr id="0" name=""/>
        <dsp:cNvSpPr/>
      </dsp:nvSpPr>
      <dsp:spPr>
        <a:xfrm>
          <a:off x="1960244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etching of the Values of SSD Tags from e-PHD</a:t>
          </a:r>
        </a:p>
      </dsp:txBody>
      <dsp:txXfrm>
        <a:off x="2001254" y="1369686"/>
        <a:ext cx="1318155" cy="1557989"/>
      </dsp:txXfrm>
    </dsp:sp>
    <dsp:sp modelId="{5D611C59-4288-402C-8A6B-543EC43B3EEA}">
      <dsp:nvSpPr>
        <dsp:cNvPr id="0" name=""/>
        <dsp:cNvSpPr/>
      </dsp:nvSpPr>
      <dsp:spPr>
        <a:xfrm>
          <a:off x="3338469" y="1975059"/>
          <a:ext cx="620772" cy="347243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3338469" y="2044508"/>
        <a:ext cx="516599" cy="208345"/>
      </dsp:txXfrm>
    </dsp:sp>
    <dsp:sp modelId="{9CFD9C3C-606A-4AA9-98A4-2C10BD98187F}">
      <dsp:nvSpPr>
        <dsp:cNvPr id="0" name=""/>
        <dsp:cNvSpPr/>
      </dsp:nvSpPr>
      <dsp:spPr>
        <a:xfrm>
          <a:off x="3920489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Run SSD Code</a:t>
          </a:r>
        </a:p>
      </dsp:txBody>
      <dsp:txXfrm>
        <a:off x="3961499" y="1369686"/>
        <a:ext cx="1318155" cy="1557989"/>
      </dsp:txXfrm>
    </dsp:sp>
    <dsp:sp modelId="{9416B4E1-33DB-41D7-9C8D-1CB8E1CCF416}">
      <dsp:nvSpPr>
        <dsp:cNvPr id="0" name=""/>
        <dsp:cNvSpPr/>
      </dsp:nvSpPr>
      <dsp:spPr>
        <a:xfrm>
          <a:off x="5309883" y="1975059"/>
          <a:ext cx="598435" cy="347243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5309883" y="2044508"/>
        <a:ext cx="494262" cy="208345"/>
      </dsp:txXfrm>
    </dsp:sp>
    <dsp:sp modelId="{E4B3985F-FB8F-4469-97B0-1F82E177C1C9}">
      <dsp:nvSpPr>
        <dsp:cNvPr id="0" name=""/>
        <dsp:cNvSpPr/>
      </dsp:nvSpPr>
      <dsp:spPr>
        <a:xfrm>
          <a:off x="5880735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Generating the Output -SSD </a:t>
          </a:r>
          <a:r>
            <a:rPr lang="en-US" sz="1800" kern="1200" dirty="0" err="1"/>
            <a:t>FlagS</a:t>
          </a:r>
          <a:endParaRPr lang="en-US" sz="1800" kern="1200" dirty="0"/>
        </a:p>
      </dsp:txBody>
      <dsp:txXfrm>
        <a:off x="5921745" y="1369686"/>
        <a:ext cx="1318155" cy="1557989"/>
      </dsp:txXfrm>
    </dsp:sp>
    <dsp:sp modelId="{EA63E36F-0D92-4502-A0A6-2F2CBE3D1AB2}">
      <dsp:nvSpPr>
        <dsp:cNvPr id="0" name=""/>
        <dsp:cNvSpPr/>
      </dsp:nvSpPr>
      <dsp:spPr>
        <a:xfrm>
          <a:off x="7306462" y="1975059"/>
          <a:ext cx="525766" cy="347243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7306462" y="2044508"/>
        <a:ext cx="421593" cy="208345"/>
      </dsp:txXfrm>
    </dsp:sp>
    <dsp:sp modelId="{8ED338A9-C971-4263-AE8E-5F1450503848}">
      <dsp:nvSpPr>
        <dsp:cNvPr id="0" name=""/>
        <dsp:cNvSpPr/>
      </dsp:nvSpPr>
      <dsp:spPr>
        <a:xfrm>
          <a:off x="7840980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riting the Individual &amp; Overall SSD Flag</a:t>
          </a:r>
        </a:p>
      </dsp:txBody>
      <dsp:txXfrm>
        <a:off x="7881990" y="1369686"/>
        <a:ext cx="1318155" cy="1557989"/>
      </dsp:txXfrm>
    </dsp:sp>
    <dsp:sp modelId="{D040C85B-E296-4E29-9F2B-99DCF11F0937}">
      <dsp:nvSpPr>
        <dsp:cNvPr id="0" name=""/>
        <dsp:cNvSpPr/>
      </dsp:nvSpPr>
      <dsp:spPr>
        <a:xfrm>
          <a:off x="9227541" y="1975059"/>
          <a:ext cx="604099" cy="347243"/>
        </a:xfrm>
        <a:prstGeom prst="rightArrow">
          <a:avLst>
            <a:gd name="adj1" fmla="val 60000"/>
            <a:gd name="adj2" fmla="val 50000"/>
          </a:avLst>
        </a:prstGeom>
        <a:solidFill>
          <a:srgbClr val="FFC0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rtlCol="0" anchor="ctr" anchorCtr="0">
          <a:noAutofit/>
        </a:bodyPr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9227541" y="2044508"/>
        <a:ext cx="499926" cy="208345"/>
      </dsp:txXfrm>
    </dsp:sp>
    <dsp:sp modelId="{07AE541E-C2AA-40A3-84B5-09BFD090D7BF}">
      <dsp:nvSpPr>
        <dsp:cNvPr id="0" name=""/>
        <dsp:cNvSpPr/>
      </dsp:nvSpPr>
      <dsp:spPr>
        <a:xfrm>
          <a:off x="9801225" y="1328676"/>
          <a:ext cx="1400175" cy="16400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Overall SSD Flag as MR Code Trigger Switch</a:t>
          </a:r>
        </a:p>
      </dsp:txBody>
      <dsp:txXfrm>
        <a:off x="9842235" y="1369686"/>
        <a:ext cx="1318155" cy="15579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49287A-CC6E-487C-B3BE-534EE328D5F1}">
      <dsp:nvSpPr>
        <dsp:cNvPr id="0" name=""/>
        <dsp:cNvSpPr/>
      </dsp:nvSpPr>
      <dsp:spPr>
        <a:xfrm>
          <a:off x="9868" y="1325473"/>
          <a:ext cx="1405644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Scheduling of the MR Algorithm-Windows Scheduler</a:t>
          </a:r>
        </a:p>
      </dsp:txBody>
      <dsp:txXfrm>
        <a:off x="51038" y="1366643"/>
        <a:ext cx="1323304" cy="1564075"/>
      </dsp:txXfrm>
    </dsp:sp>
    <dsp:sp modelId="{41B46D50-E655-4EE4-A14C-4B50AB9E230A}">
      <dsp:nvSpPr>
        <dsp:cNvPr id="0" name=""/>
        <dsp:cNvSpPr/>
      </dsp:nvSpPr>
      <dsp:spPr>
        <a:xfrm>
          <a:off x="1429941" y="1974381"/>
          <a:ext cx="550268" cy="348599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429941" y="2044101"/>
        <a:ext cx="445688" cy="209159"/>
      </dsp:txXfrm>
    </dsp:sp>
    <dsp:sp modelId="{ACC29031-835C-46D0-9B54-AF7B2A4DC865}">
      <dsp:nvSpPr>
        <dsp:cNvPr id="0" name=""/>
        <dsp:cNvSpPr/>
      </dsp:nvSpPr>
      <dsp:spPr>
        <a:xfrm>
          <a:off x="1977770" y="1325473"/>
          <a:ext cx="1405644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Pre-Condition Check</a:t>
          </a:r>
        </a:p>
      </dsp:txBody>
      <dsp:txXfrm>
        <a:off x="2018940" y="1366643"/>
        <a:ext cx="1323304" cy="1564075"/>
      </dsp:txXfrm>
    </dsp:sp>
    <dsp:sp modelId="{FC6EDE1E-AD43-4079-8E30-5B7AA9770D1D}">
      <dsp:nvSpPr>
        <dsp:cNvPr id="0" name=""/>
        <dsp:cNvSpPr/>
      </dsp:nvSpPr>
      <dsp:spPr>
        <a:xfrm>
          <a:off x="3395090" y="1974381"/>
          <a:ext cx="555775" cy="348599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3395090" y="2044101"/>
        <a:ext cx="451195" cy="209159"/>
      </dsp:txXfrm>
    </dsp:sp>
    <dsp:sp modelId="{816EB92E-FBC1-4097-8DCC-B2FE6ED0186C}">
      <dsp:nvSpPr>
        <dsp:cNvPr id="0" name=""/>
        <dsp:cNvSpPr/>
      </dsp:nvSpPr>
      <dsp:spPr>
        <a:xfrm>
          <a:off x="3945673" y="1325473"/>
          <a:ext cx="1342151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etching of the STDEV &amp; AVG Values of MR Input Tags</a:t>
          </a:r>
        </a:p>
      </dsp:txBody>
      <dsp:txXfrm>
        <a:off x="3984983" y="1364783"/>
        <a:ext cx="1263531" cy="1567795"/>
      </dsp:txXfrm>
    </dsp:sp>
    <dsp:sp modelId="{5D611C59-4288-402C-8A6B-543EC43B3EEA}">
      <dsp:nvSpPr>
        <dsp:cNvPr id="0" name=""/>
        <dsp:cNvSpPr/>
      </dsp:nvSpPr>
      <dsp:spPr>
        <a:xfrm>
          <a:off x="5316385" y="1974381"/>
          <a:ext cx="522003" cy="348599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5316385" y="2044101"/>
        <a:ext cx="417423" cy="209159"/>
      </dsp:txXfrm>
    </dsp:sp>
    <dsp:sp modelId="{9CFD9C3C-606A-4AA9-98A4-2C10BD98187F}">
      <dsp:nvSpPr>
        <dsp:cNvPr id="0" name=""/>
        <dsp:cNvSpPr/>
      </dsp:nvSpPr>
      <dsp:spPr>
        <a:xfrm>
          <a:off x="5850082" y="1325473"/>
          <a:ext cx="1405644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un MR Code</a:t>
          </a:r>
        </a:p>
      </dsp:txBody>
      <dsp:txXfrm>
        <a:off x="5891252" y="1366643"/>
        <a:ext cx="1323304" cy="1564075"/>
      </dsp:txXfrm>
    </dsp:sp>
    <dsp:sp modelId="{9416B4E1-33DB-41D7-9C8D-1CB8E1CCF416}">
      <dsp:nvSpPr>
        <dsp:cNvPr id="0" name=""/>
        <dsp:cNvSpPr/>
      </dsp:nvSpPr>
      <dsp:spPr>
        <a:xfrm>
          <a:off x="7244903" y="1974381"/>
          <a:ext cx="600773" cy="348599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7244903" y="2044101"/>
        <a:ext cx="496193" cy="209159"/>
      </dsp:txXfrm>
    </dsp:sp>
    <dsp:sp modelId="{E4B3985F-FB8F-4469-97B0-1F82E177C1C9}">
      <dsp:nvSpPr>
        <dsp:cNvPr id="0" name=""/>
        <dsp:cNvSpPr/>
      </dsp:nvSpPr>
      <dsp:spPr>
        <a:xfrm>
          <a:off x="7817984" y="1325473"/>
          <a:ext cx="1405644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Generating the Recon Output &amp; GED</a:t>
          </a:r>
        </a:p>
      </dsp:txBody>
      <dsp:txXfrm>
        <a:off x="7859154" y="1366643"/>
        <a:ext cx="1323304" cy="1564075"/>
      </dsp:txXfrm>
    </dsp:sp>
    <dsp:sp modelId="{EA63E36F-0D92-4502-A0A6-2F2CBE3D1AB2}">
      <dsp:nvSpPr>
        <dsp:cNvPr id="0" name=""/>
        <dsp:cNvSpPr/>
      </dsp:nvSpPr>
      <dsp:spPr>
        <a:xfrm>
          <a:off x="9249281" y="1974381"/>
          <a:ext cx="527820" cy="348599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9249281" y="2044101"/>
        <a:ext cx="423240" cy="209159"/>
      </dsp:txXfrm>
    </dsp:sp>
    <dsp:sp modelId="{8ED338A9-C971-4263-AE8E-5F1450503848}">
      <dsp:nvSpPr>
        <dsp:cNvPr id="0" name=""/>
        <dsp:cNvSpPr/>
      </dsp:nvSpPr>
      <dsp:spPr>
        <a:xfrm>
          <a:off x="9785886" y="1325473"/>
          <a:ext cx="1405644" cy="164641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Writing GED &amp; Recon Values to 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-PHD</a:t>
          </a:r>
        </a:p>
      </dsp:txBody>
      <dsp:txXfrm>
        <a:off x="9827056" y="1366643"/>
        <a:ext cx="1323304" cy="15640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49287A-CC6E-487C-B3BE-534EE328D5F1}">
      <dsp:nvSpPr>
        <dsp:cNvPr id="0" name=""/>
        <dsp:cNvSpPr/>
      </dsp:nvSpPr>
      <dsp:spPr>
        <a:xfrm>
          <a:off x="3828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cheduling of the Orchestration Service</a:t>
          </a:r>
        </a:p>
      </dsp:txBody>
      <dsp:txXfrm>
        <a:off x="31132" y="1805072"/>
        <a:ext cx="981849" cy="877615"/>
      </dsp:txXfrm>
    </dsp:sp>
    <dsp:sp modelId="{41B46D50-E655-4EE4-A14C-4B50AB9E230A}">
      <dsp:nvSpPr>
        <dsp:cNvPr id="0" name=""/>
        <dsp:cNvSpPr/>
      </dsp:nvSpPr>
      <dsp:spPr>
        <a:xfrm>
          <a:off x="1050925" y="2115359"/>
          <a:ext cx="40574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050925" y="2166767"/>
        <a:ext cx="328630" cy="154225"/>
      </dsp:txXfrm>
    </dsp:sp>
    <dsp:sp modelId="{320A4903-99F2-4A61-80F9-519799B5466D}">
      <dsp:nvSpPr>
        <dsp:cNvPr id="0" name=""/>
        <dsp:cNvSpPr/>
      </dsp:nvSpPr>
      <dsp:spPr>
        <a:xfrm>
          <a:off x="1454869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eady Check</a:t>
          </a:r>
        </a:p>
      </dsp:txBody>
      <dsp:txXfrm>
        <a:off x="1482173" y="1805072"/>
        <a:ext cx="981849" cy="877615"/>
      </dsp:txXfrm>
    </dsp:sp>
    <dsp:sp modelId="{48F0DB3F-CED0-4A30-84C3-F74402984B33}">
      <dsp:nvSpPr>
        <dsp:cNvPr id="0" name=""/>
        <dsp:cNvSpPr/>
      </dsp:nvSpPr>
      <dsp:spPr>
        <a:xfrm>
          <a:off x="2499043" y="2115359"/>
          <a:ext cx="41158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2499043" y="2166767"/>
        <a:ext cx="334475" cy="154225"/>
      </dsp:txXfrm>
    </dsp:sp>
    <dsp:sp modelId="{816EB92E-FBC1-4097-8DCC-B2FE6ED0186C}">
      <dsp:nvSpPr>
        <dsp:cNvPr id="0" name=""/>
        <dsp:cNvSpPr/>
      </dsp:nvSpPr>
      <dsp:spPr>
        <a:xfrm>
          <a:off x="2905910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Fetching of the Values Input Values  for USD Input PDT</a:t>
          </a:r>
        </a:p>
      </dsp:txBody>
      <dsp:txXfrm>
        <a:off x="2933214" y="1805072"/>
        <a:ext cx="981849" cy="877615"/>
      </dsp:txXfrm>
    </dsp:sp>
    <dsp:sp modelId="{5D611C59-4288-402C-8A6B-543EC43B3EEA}">
      <dsp:nvSpPr>
        <dsp:cNvPr id="0" name=""/>
        <dsp:cNvSpPr/>
      </dsp:nvSpPr>
      <dsp:spPr>
        <a:xfrm>
          <a:off x="3926119" y="2115359"/>
          <a:ext cx="45951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3926119" y="2166767"/>
        <a:ext cx="382405" cy="154225"/>
      </dsp:txXfrm>
    </dsp:sp>
    <dsp:sp modelId="{F1A7AAB0-F43B-42C8-B704-4266D2D7ADEA}">
      <dsp:nvSpPr>
        <dsp:cNvPr id="0" name=""/>
        <dsp:cNvSpPr/>
      </dsp:nvSpPr>
      <dsp:spPr>
        <a:xfrm>
          <a:off x="4356950" y="1777768"/>
          <a:ext cx="1036457" cy="932223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Input Snapshot .csv &amp; .</a:t>
          </a:r>
          <a:r>
            <a:rPr lang="en-US" sz="1100" kern="1200" dirty="0" err="1"/>
            <a:t>usp</a:t>
          </a:r>
          <a:endParaRPr lang="en-US" sz="1100" kern="1200" dirty="0"/>
        </a:p>
      </dsp:txBody>
      <dsp:txXfrm>
        <a:off x="4384254" y="1805072"/>
        <a:ext cx="981849" cy="877615"/>
      </dsp:txXfrm>
    </dsp:sp>
    <dsp:sp modelId="{616F52CE-0D12-42DE-A96D-EA1BA4BF062C}">
      <dsp:nvSpPr>
        <dsp:cNvPr id="0" name=""/>
        <dsp:cNvSpPr/>
      </dsp:nvSpPr>
      <dsp:spPr>
        <a:xfrm>
          <a:off x="5400615" y="2115359"/>
          <a:ext cx="41260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5400615" y="2166767"/>
        <a:ext cx="335495" cy="154225"/>
      </dsp:txXfrm>
    </dsp:sp>
    <dsp:sp modelId="{9CFD9C3C-606A-4AA9-98A4-2C10BD98187F}">
      <dsp:nvSpPr>
        <dsp:cNvPr id="0" name=""/>
        <dsp:cNvSpPr/>
      </dsp:nvSpPr>
      <dsp:spPr>
        <a:xfrm>
          <a:off x="5807991" y="1777768"/>
          <a:ext cx="1036457" cy="932223"/>
        </a:xfrm>
        <a:prstGeom prst="roundRect">
          <a:avLst>
            <a:gd name="adj" fmla="val 10000"/>
          </a:avLst>
        </a:prstGeom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un Solver</a:t>
          </a:r>
        </a:p>
      </dsp:txBody>
      <dsp:txXfrm>
        <a:off x="5835295" y="1805072"/>
        <a:ext cx="981849" cy="877615"/>
      </dsp:txXfrm>
    </dsp:sp>
    <dsp:sp modelId="{9416B4E1-33DB-41D7-9C8D-1CB8E1CCF416}">
      <dsp:nvSpPr>
        <dsp:cNvPr id="0" name=""/>
        <dsp:cNvSpPr/>
      </dsp:nvSpPr>
      <dsp:spPr>
        <a:xfrm>
          <a:off x="6836468" y="2115359"/>
          <a:ext cx="44298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6836468" y="2166767"/>
        <a:ext cx="365870" cy="154225"/>
      </dsp:txXfrm>
    </dsp:sp>
    <dsp:sp modelId="{E4B3985F-FB8F-4469-97B0-1F82E177C1C9}">
      <dsp:nvSpPr>
        <dsp:cNvPr id="0" name=""/>
        <dsp:cNvSpPr/>
      </dsp:nvSpPr>
      <dsp:spPr>
        <a:xfrm>
          <a:off x="7259032" y="1777768"/>
          <a:ext cx="1036457" cy="932223"/>
        </a:xfrm>
        <a:prstGeom prst="roundRect">
          <a:avLst>
            <a:gd name="adj" fmla="val 10000"/>
          </a:avLst>
        </a:prstGeom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Output</a:t>
          </a:r>
          <a:r>
            <a:rPr lang="en-US" sz="1100" kern="1200" dirty="0"/>
            <a:t> Snapshot .csv &amp; .</a:t>
          </a:r>
          <a:r>
            <a:rPr lang="en-US" sz="1100" kern="1200" dirty="0" err="1"/>
            <a:t>usp</a:t>
          </a:r>
          <a:endParaRPr lang="en-US" sz="1100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7286336" y="1805072"/>
        <a:ext cx="981849" cy="877615"/>
      </dsp:txXfrm>
    </dsp:sp>
    <dsp:sp modelId="{EA63E36F-0D92-4502-A0A6-2F2CBE3D1AB2}">
      <dsp:nvSpPr>
        <dsp:cNvPr id="0" name=""/>
        <dsp:cNvSpPr/>
      </dsp:nvSpPr>
      <dsp:spPr>
        <a:xfrm>
          <a:off x="8314404" y="2115359"/>
          <a:ext cx="389190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8314404" y="2166767"/>
        <a:ext cx="312078" cy="154225"/>
      </dsp:txXfrm>
    </dsp:sp>
    <dsp:sp modelId="{8ED338A9-C971-4263-AE8E-5F1450503848}">
      <dsp:nvSpPr>
        <dsp:cNvPr id="0" name=""/>
        <dsp:cNvSpPr/>
      </dsp:nvSpPr>
      <dsp:spPr>
        <a:xfrm>
          <a:off x="8710072" y="1777768"/>
          <a:ext cx="1036457" cy="932223"/>
        </a:xfrm>
        <a:prstGeom prst="roundRect">
          <a:avLst>
            <a:gd name="adj" fmla="val 10000"/>
          </a:avLst>
        </a:prstGeom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ncrement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Schedule</a:t>
          </a:r>
          <a:r>
            <a:rPr lang="en-US" sz="1100" kern="1200" dirty="0"/>
            <a:t> for next </a:t>
          </a: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un</a:t>
          </a:r>
        </a:p>
      </dsp:txBody>
      <dsp:txXfrm>
        <a:off x="8737376" y="1805072"/>
        <a:ext cx="981849" cy="877615"/>
      </dsp:txXfrm>
    </dsp:sp>
    <dsp:sp modelId="{D040C85B-E296-4E29-9F2B-99DCF11F0937}">
      <dsp:nvSpPr>
        <dsp:cNvPr id="0" name=""/>
        <dsp:cNvSpPr/>
      </dsp:nvSpPr>
      <dsp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rtlCol="0" anchor="ctr" anchorCtr="0">
          <a:noAutofit/>
        </a:bodyPr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9736453" y="2166767"/>
        <a:ext cx="370062" cy="154225"/>
      </dsp:txXfrm>
    </dsp:sp>
    <dsp:sp modelId="{07AE541E-C2AA-40A3-84B5-09BFD090D7BF}">
      <dsp:nvSpPr>
        <dsp:cNvPr id="0" name=""/>
        <dsp:cNvSpPr/>
      </dsp:nvSpPr>
      <dsp:spPr>
        <a:xfrm>
          <a:off x="10161113" y="1777768"/>
          <a:ext cx="1036457" cy="932223"/>
        </a:xfrm>
        <a:prstGeom prst="roundRect">
          <a:avLst>
            <a:gd name="adj" fmla="val 10000"/>
          </a:avLst>
        </a:prstGeom>
        <a:solidFill>
          <a:srgbClr val="404040">
            <a:lumMod val="20000"/>
            <a:lumOff val="8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Kill </a:t>
          </a:r>
          <a:r>
            <a:rPr lang="en-US" sz="1100" kern="1200" dirty="0" err="1"/>
            <a:t>Unisim</a:t>
          </a:r>
          <a:r>
            <a:rPr lang="en-US" sz="1100" kern="1200" dirty="0"/>
            <a:t> Process if </a:t>
          </a:r>
          <a:r>
            <a:rPr lang="en-US" sz="1100" kern="1200" dirty="0" err="1"/>
            <a:t>KeepProcess</a:t>
          </a:r>
          <a:r>
            <a:rPr lang="en-US" sz="1100" kern="1200" dirty="0"/>
            <a:t> False</a:t>
          </a:r>
        </a:p>
      </dsp:txBody>
      <dsp:txXfrm>
        <a:off x="10188417" y="1805072"/>
        <a:ext cx="981849" cy="8776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49287A-CC6E-487C-B3BE-534EE328D5F1}">
      <dsp:nvSpPr>
        <dsp:cNvPr id="0" name=""/>
        <dsp:cNvSpPr/>
      </dsp:nvSpPr>
      <dsp:spPr>
        <a:xfrm>
          <a:off x="3828" y="1777768"/>
          <a:ext cx="1036457" cy="932223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cheduling of the Orchestration Service</a:t>
          </a:r>
        </a:p>
      </dsp:txBody>
      <dsp:txXfrm>
        <a:off x="31132" y="1805072"/>
        <a:ext cx="981849" cy="877615"/>
      </dsp:txXfrm>
    </dsp:sp>
    <dsp:sp modelId="{41B46D50-E655-4EE4-A14C-4B50AB9E230A}">
      <dsp:nvSpPr>
        <dsp:cNvPr id="0" name=""/>
        <dsp:cNvSpPr/>
      </dsp:nvSpPr>
      <dsp:spPr>
        <a:xfrm>
          <a:off x="1050925" y="2115359"/>
          <a:ext cx="40574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050925" y="2166767"/>
        <a:ext cx="328630" cy="154225"/>
      </dsp:txXfrm>
    </dsp:sp>
    <dsp:sp modelId="{320A4903-99F2-4A61-80F9-519799B5466D}">
      <dsp:nvSpPr>
        <dsp:cNvPr id="0" name=""/>
        <dsp:cNvSpPr/>
      </dsp:nvSpPr>
      <dsp:spPr>
        <a:xfrm>
          <a:off x="1454869" y="1777768"/>
          <a:ext cx="1036457" cy="932223"/>
        </a:xfrm>
        <a:prstGeom prst="roundRect">
          <a:avLst>
            <a:gd name="adj" fmla="val 10000"/>
          </a:avLst>
        </a:prstGeom>
        <a:solidFill>
          <a:srgbClr val="E0E0E0">
            <a:lumMod val="9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Ready Check</a:t>
          </a:r>
        </a:p>
      </dsp:txBody>
      <dsp:txXfrm>
        <a:off x="1482173" y="1805072"/>
        <a:ext cx="981849" cy="877615"/>
      </dsp:txXfrm>
    </dsp:sp>
    <dsp:sp modelId="{48F0DB3F-CED0-4A30-84C3-F74402984B33}">
      <dsp:nvSpPr>
        <dsp:cNvPr id="0" name=""/>
        <dsp:cNvSpPr/>
      </dsp:nvSpPr>
      <dsp:spPr>
        <a:xfrm>
          <a:off x="2499043" y="2115359"/>
          <a:ext cx="41158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2499043" y="2166767"/>
        <a:ext cx="334475" cy="154225"/>
      </dsp:txXfrm>
    </dsp:sp>
    <dsp:sp modelId="{816EB92E-FBC1-4097-8DCC-B2FE6ED0186C}">
      <dsp:nvSpPr>
        <dsp:cNvPr id="0" name=""/>
        <dsp:cNvSpPr/>
      </dsp:nvSpPr>
      <dsp:spPr>
        <a:xfrm>
          <a:off x="2905910" y="1777768"/>
          <a:ext cx="1036457" cy="932223"/>
        </a:xfrm>
        <a:prstGeom prst="roundRect">
          <a:avLst>
            <a:gd name="adj" fmla="val 10000"/>
          </a:avLst>
        </a:prstGeom>
        <a:solidFill>
          <a:srgbClr val="E0E0E0">
            <a:lumMod val="90000"/>
          </a:srgbClr>
        </a:solidFill>
        <a:ln w="12700" cap="flat" cmpd="sng" algn="ctr">
          <a:solidFill>
            <a:srgbClr val="E0E0E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Fetching</a:t>
          </a:r>
          <a:r>
            <a:rPr lang="en-US" sz="1100" kern="1200" dirty="0"/>
            <a:t> of the Values Input Values  for USD Input PDT</a:t>
          </a:r>
        </a:p>
      </dsp:txBody>
      <dsp:txXfrm>
        <a:off x="2933214" y="1805072"/>
        <a:ext cx="981849" cy="877615"/>
      </dsp:txXfrm>
    </dsp:sp>
    <dsp:sp modelId="{5D611C59-4288-402C-8A6B-543EC43B3EEA}">
      <dsp:nvSpPr>
        <dsp:cNvPr id="0" name=""/>
        <dsp:cNvSpPr/>
      </dsp:nvSpPr>
      <dsp:spPr>
        <a:xfrm>
          <a:off x="3926119" y="2115359"/>
          <a:ext cx="45951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3926119" y="2166767"/>
        <a:ext cx="382405" cy="154225"/>
      </dsp:txXfrm>
    </dsp:sp>
    <dsp:sp modelId="{F1A7AAB0-F43B-42C8-B704-4266D2D7ADEA}">
      <dsp:nvSpPr>
        <dsp:cNvPr id="0" name=""/>
        <dsp:cNvSpPr/>
      </dsp:nvSpPr>
      <dsp:spPr>
        <a:xfrm>
          <a:off x="4356950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Input Snapshot .csv &amp; .</a:t>
          </a:r>
          <a:r>
            <a:rPr lang="en-US" sz="1100" kern="1200" dirty="0" err="1"/>
            <a:t>usp</a:t>
          </a:r>
          <a:endParaRPr lang="en-US" sz="1100" kern="1200" dirty="0"/>
        </a:p>
      </dsp:txBody>
      <dsp:txXfrm>
        <a:off x="4384254" y="1805072"/>
        <a:ext cx="981849" cy="877615"/>
      </dsp:txXfrm>
    </dsp:sp>
    <dsp:sp modelId="{616F52CE-0D12-42DE-A96D-EA1BA4BF062C}">
      <dsp:nvSpPr>
        <dsp:cNvPr id="0" name=""/>
        <dsp:cNvSpPr/>
      </dsp:nvSpPr>
      <dsp:spPr>
        <a:xfrm>
          <a:off x="5400615" y="2115359"/>
          <a:ext cx="41260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5400615" y="2166767"/>
        <a:ext cx="335495" cy="154225"/>
      </dsp:txXfrm>
    </dsp:sp>
    <dsp:sp modelId="{9CFD9C3C-606A-4AA9-98A4-2C10BD98187F}">
      <dsp:nvSpPr>
        <dsp:cNvPr id="0" name=""/>
        <dsp:cNvSpPr/>
      </dsp:nvSpPr>
      <dsp:spPr>
        <a:xfrm>
          <a:off x="5807991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un Solver</a:t>
          </a:r>
        </a:p>
      </dsp:txBody>
      <dsp:txXfrm>
        <a:off x="5835295" y="1805072"/>
        <a:ext cx="981849" cy="877615"/>
      </dsp:txXfrm>
    </dsp:sp>
    <dsp:sp modelId="{9416B4E1-33DB-41D7-9C8D-1CB8E1CCF416}">
      <dsp:nvSpPr>
        <dsp:cNvPr id="0" name=""/>
        <dsp:cNvSpPr/>
      </dsp:nvSpPr>
      <dsp:spPr>
        <a:xfrm>
          <a:off x="6836468" y="2115359"/>
          <a:ext cx="44298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6836468" y="2166767"/>
        <a:ext cx="365870" cy="154225"/>
      </dsp:txXfrm>
    </dsp:sp>
    <dsp:sp modelId="{E4B3985F-FB8F-4469-97B0-1F82E177C1C9}">
      <dsp:nvSpPr>
        <dsp:cNvPr id="0" name=""/>
        <dsp:cNvSpPr/>
      </dsp:nvSpPr>
      <dsp:spPr>
        <a:xfrm>
          <a:off x="7259032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Output Snapshot .csv &amp; .</a:t>
          </a:r>
          <a:r>
            <a:rPr lang="en-US" sz="1100" kern="1200" dirty="0" err="1"/>
            <a:t>usp</a:t>
          </a:r>
          <a:endParaRPr lang="en-US" sz="1100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7286336" y="1805072"/>
        <a:ext cx="981849" cy="877615"/>
      </dsp:txXfrm>
    </dsp:sp>
    <dsp:sp modelId="{EA63E36F-0D92-4502-A0A6-2F2CBE3D1AB2}">
      <dsp:nvSpPr>
        <dsp:cNvPr id="0" name=""/>
        <dsp:cNvSpPr/>
      </dsp:nvSpPr>
      <dsp:spPr>
        <a:xfrm>
          <a:off x="8314404" y="2115359"/>
          <a:ext cx="389190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8314404" y="2166767"/>
        <a:ext cx="312078" cy="154225"/>
      </dsp:txXfrm>
    </dsp:sp>
    <dsp:sp modelId="{8ED338A9-C971-4263-AE8E-5F1450503848}">
      <dsp:nvSpPr>
        <dsp:cNvPr id="0" name=""/>
        <dsp:cNvSpPr/>
      </dsp:nvSpPr>
      <dsp:spPr>
        <a:xfrm>
          <a:off x="8710072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ncrement Schedule for next Run</a:t>
          </a:r>
        </a:p>
      </dsp:txBody>
      <dsp:txXfrm>
        <a:off x="8737376" y="1805072"/>
        <a:ext cx="981849" cy="877615"/>
      </dsp:txXfrm>
    </dsp:sp>
    <dsp:sp modelId="{D040C85B-E296-4E29-9F2B-99DCF11F0937}">
      <dsp:nvSpPr>
        <dsp:cNvPr id="0" name=""/>
        <dsp:cNvSpPr/>
      </dsp:nvSpPr>
      <dsp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rtlCol="0" anchor="ctr" anchorCtr="0">
          <a:noAutofit/>
        </a:bodyPr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9736453" y="2166767"/>
        <a:ext cx="370062" cy="154225"/>
      </dsp:txXfrm>
    </dsp:sp>
    <dsp:sp modelId="{07AE541E-C2AA-40A3-84B5-09BFD090D7BF}">
      <dsp:nvSpPr>
        <dsp:cNvPr id="0" name=""/>
        <dsp:cNvSpPr/>
      </dsp:nvSpPr>
      <dsp:spPr>
        <a:xfrm>
          <a:off x="10161113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Kill </a:t>
          </a:r>
          <a:r>
            <a:rPr lang="en-US" sz="1100" kern="1200" dirty="0" err="1"/>
            <a:t>Unisim</a:t>
          </a:r>
          <a:r>
            <a:rPr lang="en-US" sz="1100" kern="1200" dirty="0"/>
            <a:t> Process if </a:t>
          </a:r>
          <a:r>
            <a:rPr lang="en-US" sz="1100" kern="1200" dirty="0" err="1"/>
            <a:t>KeepProcess</a:t>
          </a:r>
          <a:r>
            <a:rPr lang="en-US" sz="1100" kern="1200" dirty="0"/>
            <a:t> False</a:t>
          </a:r>
        </a:p>
      </dsp:txBody>
      <dsp:txXfrm>
        <a:off x="10188417" y="1805072"/>
        <a:ext cx="981849" cy="87761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49287A-CC6E-487C-B3BE-534EE328D5F1}">
      <dsp:nvSpPr>
        <dsp:cNvPr id="0" name=""/>
        <dsp:cNvSpPr/>
      </dsp:nvSpPr>
      <dsp:spPr>
        <a:xfrm>
          <a:off x="3828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cheduling of the Orchestration Service</a:t>
          </a:r>
        </a:p>
      </dsp:txBody>
      <dsp:txXfrm>
        <a:off x="31132" y="1805072"/>
        <a:ext cx="981849" cy="877615"/>
      </dsp:txXfrm>
    </dsp:sp>
    <dsp:sp modelId="{41B46D50-E655-4EE4-A14C-4B50AB9E230A}">
      <dsp:nvSpPr>
        <dsp:cNvPr id="0" name=""/>
        <dsp:cNvSpPr/>
      </dsp:nvSpPr>
      <dsp:spPr>
        <a:xfrm>
          <a:off x="1050925" y="2115359"/>
          <a:ext cx="40574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050925" y="2166767"/>
        <a:ext cx="328630" cy="154225"/>
      </dsp:txXfrm>
    </dsp:sp>
    <dsp:sp modelId="{320A4903-99F2-4A61-80F9-519799B5466D}">
      <dsp:nvSpPr>
        <dsp:cNvPr id="0" name=""/>
        <dsp:cNvSpPr/>
      </dsp:nvSpPr>
      <dsp:spPr>
        <a:xfrm>
          <a:off x="1454869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eady Check</a:t>
          </a:r>
        </a:p>
      </dsp:txBody>
      <dsp:txXfrm>
        <a:off x="1482173" y="1805072"/>
        <a:ext cx="981849" cy="877615"/>
      </dsp:txXfrm>
    </dsp:sp>
    <dsp:sp modelId="{48F0DB3F-CED0-4A30-84C3-F74402984B33}">
      <dsp:nvSpPr>
        <dsp:cNvPr id="0" name=""/>
        <dsp:cNvSpPr/>
      </dsp:nvSpPr>
      <dsp:spPr>
        <a:xfrm>
          <a:off x="2499043" y="2115359"/>
          <a:ext cx="41158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2499043" y="2166767"/>
        <a:ext cx="334475" cy="154225"/>
      </dsp:txXfrm>
    </dsp:sp>
    <dsp:sp modelId="{816EB92E-FBC1-4097-8DCC-B2FE6ED0186C}">
      <dsp:nvSpPr>
        <dsp:cNvPr id="0" name=""/>
        <dsp:cNvSpPr/>
      </dsp:nvSpPr>
      <dsp:spPr>
        <a:xfrm>
          <a:off x="2905910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Fetching of the Values Input Values  for USD Input PDT</a:t>
          </a:r>
        </a:p>
      </dsp:txBody>
      <dsp:txXfrm>
        <a:off x="2933214" y="1805072"/>
        <a:ext cx="981849" cy="877615"/>
      </dsp:txXfrm>
    </dsp:sp>
    <dsp:sp modelId="{5D611C59-4288-402C-8A6B-543EC43B3EEA}">
      <dsp:nvSpPr>
        <dsp:cNvPr id="0" name=""/>
        <dsp:cNvSpPr/>
      </dsp:nvSpPr>
      <dsp:spPr>
        <a:xfrm>
          <a:off x="3926119" y="2115359"/>
          <a:ext cx="45951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3926119" y="2166767"/>
        <a:ext cx="382405" cy="154225"/>
      </dsp:txXfrm>
    </dsp:sp>
    <dsp:sp modelId="{F1A7AAB0-F43B-42C8-B704-4266D2D7ADEA}">
      <dsp:nvSpPr>
        <dsp:cNvPr id="0" name=""/>
        <dsp:cNvSpPr/>
      </dsp:nvSpPr>
      <dsp:spPr>
        <a:xfrm>
          <a:off x="4356950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Input Snapshot .csv &amp; .</a:t>
          </a:r>
          <a:r>
            <a:rPr lang="en-US" sz="1100" kern="1200" dirty="0" err="1"/>
            <a:t>usp</a:t>
          </a:r>
          <a:endParaRPr lang="en-US" sz="1100" kern="1200" dirty="0"/>
        </a:p>
      </dsp:txBody>
      <dsp:txXfrm>
        <a:off x="4384254" y="1805072"/>
        <a:ext cx="981849" cy="877615"/>
      </dsp:txXfrm>
    </dsp:sp>
    <dsp:sp modelId="{616F52CE-0D12-42DE-A96D-EA1BA4BF062C}">
      <dsp:nvSpPr>
        <dsp:cNvPr id="0" name=""/>
        <dsp:cNvSpPr/>
      </dsp:nvSpPr>
      <dsp:spPr>
        <a:xfrm>
          <a:off x="5400615" y="2115359"/>
          <a:ext cx="412607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5400615" y="2166767"/>
        <a:ext cx="335495" cy="154225"/>
      </dsp:txXfrm>
    </dsp:sp>
    <dsp:sp modelId="{9CFD9C3C-606A-4AA9-98A4-2C10BD98187F}">
      <dsp:nvSpPr>
        <dsp:cNvPr id="0" name=""/>
        <dsp:cNvSpPr/>
      </dsp:nvSpPr>
      <dsp:spPr>
        <a:xfrm>
          <a:off x="5807991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un Solver</a:t>
          </a:r>
        </a:p>
      </dsp:txBody>
      <dsp:txXfrm>
        <a:off x="5835295" y="1805072"/>
        <a:ext cx="981849" cy="877615"/>
      </dsp:txXfrm>
    </dsp:sp>
    <dsp:sp modelId="{9416B4E1-33DB-41D7-9C8D-1CB8E1CCF416}">
      <dsp:nvSpPr>
        <dsp:cNvPr id="0" name=""/>
        <dsp:cNvSpPr/>
      </dsp:nvSpPr>
      <dsp:spPr>
        <a:xfrm>
          <a:off x="6836468" y="2115359"/>
          <a:ext cx="442982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6836468" y="2166767"/>
        <a:ext cx="365870" cy="154225"/>
      </dsp:txXfrm>
    </dsp:sp>
    <dsp:sp modelId="{E4B3985F-FB8F-4469-97B0-1F82E177C1C9}">
      <dsp:nvSpPr>
        <dsp:cNvPr id="0" name=""/>
        <dsp:cNvSpPr/>
      </dsp:nvSpPr>
      <dsp:spPr>
        <a:xfrm>
          <a:off x="7259032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Generation of Output Snapshot .csv &amp; .</a:t>
          </a:r>
          <a:r>
            <a:rPr lang="en-US" sz="1100" kern="1200" dirty="0" err="1"/>
            <a:t>usp</a:t>
          </a:r>
          <a:endParaRPr lang="en-US" sz="1100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7286336" y="1805072"/>
        <a:ext cx="981849" cy="877615"/>
      </dsp:txXfrm>
    </dsp:sp>
    <dsp:sp modelId="{EA63E36F-0D92-4502-A0A6-2F2CBE3D1AB2}">
      <dsp:nvSpPr>
        <dsp:cNvPr id="0" name=""/>
        <dsp:cNvSpPr/>
      </dsp:nvSpPr>
      <dsp:spPr>
        <a:xfrm>
          <a:off x="8314404" y="2115359"/>
          <a:ext cx="389190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8314404" y="2166767"/>
        <a:ext cx="312078" cy="154225"/>
      </dsp:txXfrm>
    </dsp:sp>
    <dsp:sp modelId="{8ED338A9-C971-4263-AE8E-5F1450503848}">
      <dsp:nvSpPr>
        <dsp:cNvPr id="0" name=""/>
        <dsp:cNvSpPr/>
      </dsp:nvSpPr>
      <dsp:spPr>
        <a:xfrm>
          <a:off x="8710072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ncrement Schedule for next Run</a:t>
          </a:r>
        </a:p>
      </dsp:txBody>
      <dsp:txXfrm>
        <a:off x="8737376" y="1805072"/>
        <a:ext cx="981849" cy="877615"/>
      </dsp:txXfrm>
    </dsp:sp>
    <dsp:sp modelId="{D040C85B-E296-4E29-9F2B-99DCF11F0937}">
      <dsp:nvSpPr>
        <dsp:cNvPr id="0" name=""/>
        <dsp:cNvSpPr/>
      </dsp:nvSpPr>
      <dsp:spPr>
        <a:xfrm>
          <a:off x="9736453" y="2115359"/>
          <a:ext cx="447174" cy="257041"/>
        </a:xfrm>
        <a:prstGeom prst="rightArrow">
          <a:avLst>
            <a:gd name="adj1" fmla="val 60000"/>
            <a:gd name="adj2" fmla="val 50000"/>
          </a:avLst>
        </a:prstGeom>
        <a:solidFill>
          <a:srgbClr val="40404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rtlCol="0" anchor="ctr" anchorCtr="0">
          <a:noAutofit/>
        </a:bodyPr>
        <a:lstStyle/>
        <a:p>
          <a:pPr marL="0" lvl="0" indent="0" algn="ctr" defTabSz="6223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Arial"/>
            <a:ea typeface="+mn-ea"/>
            <a:cs typeface="+mn-cs"/>
          </a:endParaRPr>
        </a:p>
      </dsp:txBody>
      <dsp:txXfrm>
        <a:off x="9736453" y="2166767"/>
        <a:ext cx="370062" cy="154225"/>
      </dsp:txXfrm>
    </dsp:sp>
    <dsp:sp modelId="{07AE541E-C2AA-40A3-84B5-09BFD090D7BF}">
      <dsp:nvSpPr>
        <dsp:cNvPr id="0" name=""/>
        <dsp:cNvSpPr/>
      </dsp:nvSpPr>
      <dsp:spPr>
        <a:xfrm>
          <a:off x="10161113" y="1777768"/>
          <a:ext cx="1036457" cy="9322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Kill </a:t>
          </a:r>
          <a:r>
            <a:rPr lang="en-US" sz="1100" kern="1200" dirty="0" err="1"/>
            <a:t>Unisim</a:t>
          </a:r>
          <a:r>
            <a:rPr lang="en-US" sz="1100" kern="1200" dirty="0"/>
            <a:t> Process if </a:t>
          </a:r>
          <a:r>
            <a:rPr lang="en-US" sz="1100" kern="1200" dirty="0" err="1"/>
            <a:t>KeepProcess</a:t>
          </a:r>
          <a:r>
            <a:rPr lang="en-US" sz="1100" kern="1200" dirty="0"/>
            <a:t> False</a:t>
          </a:r>
        </a:p>
      </dsp:txBody>
      <dsp:txXfrm>
        <a:off x="10188417" y="1805072"/>
        <a:ext cx="981849" cy="87761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3FF358-73DB-492D-AE17-33CC37402215}">
      <dsp:nvSpPr>
        <dsp:cNvPr id="0" name=""/>
        <dsp:cNvSpPr/>
      </dsp:nvSpPr>
      <dsp:spPr>
        <a:xfrm>
          <a:off x="785596" y="1095827"/>
          <a:ext cx="2553020" cy="21057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 err="1"/>
            <a:t>Unisim</a:t>
          </a:r>
          <a:r>
            <a:rPr lang="en-US" sz="1800" kern="1200" dirty="0"/>
            <a:t> Output Tag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MR Output Tag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Calc Tags</a:t>
          </a:r>
        </a:p>
      </dsp:txBody>
      <dsp:txXfrm>
        <a:off x="834054" y="1144285"/>
        <a:ext cx="2456104" cy="1557568"/>
      </dsp:txXfrm>
    </dsp:sp>
    <dsp:sp modelId="{8C0A85B4-E064-4D7E-A6B2-AA9E2B5F5FD9}">
      <dsp:nvSpPr>
        <dsp:cNvPr id="0" name=""/>
        <dsp:cNvSpPr/>
      </dsp:nvSpPr>
      <dsp:spPr>
        <a:xfrm>
          <a:off x="2178836" y="1448325"/>
          <a:ext cx="3035648" cy="3035648"/>
        </a:xfrm>
        <a:prstGeom prst="leftCircularArrow">
          <a:avLst>
            <a:gd name="adj1" fmla="val 3874"/>
            <a:gd name="adj2" fmla="val 485068"/>
            <a:gd name="adj3" fmla="val 2260578"/>
            <a:gd name="adj4" fmla="val 9024489"/>
            <a:gd name="adj5" fmla="val 452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B19F9C-3B41-4E87-957B-80CCAFCFEEC8}">
      <dsp:nvSpPr>
        <dsp:cNvPr id="0" name=""/>
        <dsp:cNvSpPr/>
      </dsp:nvSpPr>
      <dsp:spPr>
        <a:xfrm>
          <a:off x="1352933" y="2750312"/>
          <a:ext cx="2269351" cy="9024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66040" rIns="99060" bIns="66040" numCol="1" spcCol="1270" anchor="ctr" anchorCtr="0">
          <a:noAutofit/>
        </a:bodyPr>
        <a:lstStyle/>
        <a:p>
          <a:pPr marL="0" lvl="0" indent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 dirty="0"/>
            <a:t>e-PHD</a:t>
          </a:r>
        </a:p>
      </dsp:txBody>
      <dsp:txXfrm>
        <a:off x="1379365" y="2776744"/>
        <a:ext cx="2216487" cy="849582"/>
      </dsp:txXfrm>
    </dsp:sp>
    <dsp:sp modelId="{129274A4-262F-48E8-8D37-2652C24334EB}">
      <dsp:nvSpPr>
        <dsp:cNvPr id="0" name=""/>
        <dsp:cNvSpPr/>
      </dsp:nvSpPr>
      <dsp:spPr>
        <a:xfrm>
          <a:off x="4182355" y="1095827"/>
          <a:ext cx="2553020" cy="21057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Internal Cloud Collector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-PHD tags added to cloud collector</a:t>
          </a:r>
        </a:p>
      </dsp:txBody>
      <dsp:txXfrm>
        <a:off x="4230813" y="1595508"/>
        <a:ext cx="2456104" cy="1557568"/>
      </dsp:txXfrm>
    </dsp:sp>
    <dsp:sp modelId="{FF139866-8D9A-4E1E-8F81-DA416F574591}">
      <dsp:nvSpPr>
        <dsp:cNvPr id="0" name=""/>
        <dsp:cNvSpPr/>
      </dsp:nvSpPr>
      <dsp:spPr>
        <a:xfrm>
          <a:off x="5554320" y="-269174"/>
          <a:ext cx="3361867" cy="3361867"/>
        </a:xfrm>
        <a:prstGeom prst="circularArrow">
          <a:avLst>
            <a:gd name="adj1" fmla="val 3498"/>
            <a:gd name="adj2" fmla="val 434067"/>
            <a:gd name="adj3" fmla="val 19390423"/>
            <a:gd name="adj4" fmla="val 12575511"/>
            <a:gd name="adj5" fmla="val 408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6ABF90-22DD-4B3C-8B11-743A9B8FB50F}">
      <dsp:nvSpPr>
        <dsp:cNvPr id="0" name=""/>
        <dsp:cNvSpPr/>
      </dsp:nvSpPr>
      <dsp:spPr>
        <a:xfrm>
          <a:off x="4749693" y="644604"/>
          <a:ext cx="2269351" cy="9024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66040" rIns="99060" bIns="66040" numCol="1" spcCol="1270" anchor="ctr" anchorCtr="0">
          <a:noAutofit/>
        </a:bodyPr>
        <a:lstStyle/>
        <a:p>
          <a:pPr marL="0" lvl="0" indent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 dirty="0"/>
            <a:t>CHC</a:t>
          </a:r>
        </a:p>
      </dsp:txBody>
      <dsp:txXfrm>
        <a:off x="4776125" y="671036"/>
        <a:ext cx="2216487" cy="849582"/>
      </dsp:txXfrm>
    </dsp:sp>
    <dsp:sp modelId="{F0C8B467-85AD-40B4-BBE1-3B79B721B060}">
      <dsp:nvSpPr>
        <dsp:cNvPr id="0" name=""/>
        <dsp:cNvSpPr/>
      </dsp:nvSpPr>
      <dsp:spPr>
        <a:xfrm>
          <a:off x="7579114" y="1095827"/>
          <a:ext cx="2553020" cy="21057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TSDB has access to Tags added to CHC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Dashboard refers Tags from TSDB</a:t>
          </a:r>
        </a:p>
      </dsp:txBody>
      <dsp:txXfrm>
        <a:off x="7627572" y="1144285"/>
        <a:ext cx="2456104" cy="1557568"/>
      </dsp:txXfrm>
    </dsp:sp>
    <dsp:sp modelId="{44673F5B-F141-4AE1-B125-3F79B98459E4}">
      <dsp:nvSpPr>
        <dsp:cNvPr id="0" name=""/>
        <dsp:cNvSpPr/>
      </dsp:nvSpPr>
      <dsp:spPr>
        <a:xfrm>
          <a:off x="8146452" y="2750312"/>
          <a:ext cx="2269351" cy="9024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66040" rIns="99060" bIns="66040" numCol="1" spcCol="1270" anchor="ctr" anchorCtr="0">
          <a:noAutofit/>
        </a:bodyPr>
        <a:lstStyle/>
        <a:p>
          <a:pPr marL="0" lvl="0" indent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 dirty="0"/>
            <a:t>TSDB</a:t>
          </a:r>
        </a:p>
      </dsp:txBody>
      <dsp:txXfrm>
        <a:off x="8172884" y="2776744"/>
        <a:ext cx="2216487" cy="84958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38090B-9D3C-4E2B-9FE3-45188DE2EB4E}">
      <dsp:nvSpPr>
        <dsp:cNvPr id="0" name=""/>
        <dsp:cNvSpPr/>
      </dsp:nvSpPr>
      <dsp:spPr>
        <a:xfrm>
          <a:off x="1909" y="1795309"/>
          <a:ext cx="2684676" cy="707061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Time Series Data Base (TSDB)</a:t>
          </a:r>
          <a:endParaRPr lang="en-US" sz="1900" kern="1200" dirty="0"/>
        </a:p>
      </dsp:txBody>
      <dsp:txXfrm>
        <a:off x="22618" y="1816018"/>
        <a:ext cx="2643258" cy="665643"/>
      </dsp:txXfrm>
    </dsp:sp>
    <dsp:sp modelId="{4E8DDB7F-307C-4125-8BA9-213B770D16E6}">
      <dsp:nvSpPr>
        <dsp:cNvPr id="0" name=""/>
        <dsp:cNvSpPr/>
      </dsp:nvSpPr>
      <dsp:spPr>
        <a:xfrm>
          <a:off x="2639632" y="1756485"/>
          <a:ext cx="1427923" cy="8030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2639632" y="1917085"/>
        <a:ext cx="1187023" cy="481800"/>
      </dsp:txXfrm>
    </dsp:sp>
    <dsp:sp modelId="{F2F7D6C6-63BE-425B-877E-D5CD274D5A0F}">
      <dsp:nvSpPr>
        <dsp:cNvPr id="0" name=""/>
        <dsp:cNvSpPr/>
      </dsp:nvSpPr>
      <dsp:spPr>
        <a:xfrm>
          <a:off x="3981748" y="1592574"/>
          <a:ext cx="3237904" cy="1112531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Visualization configuration Mapping</a:t>
          </a:r>
        </a:p>
      </dsp:txBody>
      <dsp:txXfrm>
        <a:off x="4014333" y="1625159"/>
        <a:ext cx="3172734" cy="1047361"/>
      </dsp:txXfrm>
    </dsp:sp>
    <dsp:sp modelId="{631ED300-68D0-4B49-A743-E1D70E7397CF}">
      <dsp:nvSpPr>
        <dsp:cNvPr id="0" name=""/>
        <dsp:cNvSpPr/>
      </dsp:nvSpPr>
      <dsp:spPr>
        <a:xfrm>
          <a:off x="7234348" y="1747339"/>
          <a:ext cx="1304626" cy="8030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7234348" y="1907939"/>
        <a:ext cx="1063726" cy="481800"/>
      </dsp:txXfrm>
    </dsp:sp>
    <dsp:sp modelId="{072564DA-3089-4757-880F-3AE1053879C2}">
      <dsp:nvSpPr>
        <dsp:cNvPr id="0" name=""/>
        <dsp:cNvSpPr/>
      </dsp:nvSpPr>
      <dsp:spPr>
        <a:xfrm>
          <a:off x="8514814" y="1795309"/>
          <a:ext cx="2684676" cy="707061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Dashboards</a:t>
          </a:r>
        </a:p>
      </dsp:txBody>
      <dsp:txXfrm>
        <a:off x="8535523" y="1816018"/>
        <a:ext cx="2643258" cy="665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6/2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6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4.svg" 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 /><Relationship Id="rId2" Type="http://schemas.openxmlformats.org/officeDocument/2006/relationships/tags" Target="../tags/tag12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6.bin" /><Relationship Id="rId4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4.svg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 /><Relationship Id="rId3" Type="http://schemas.openxmlformats.org/officeDocument/2006/relationships/tags" Target="../tags/tag5.xml" /><Relationship Id="rId7" Type="http://schemas.openxmlformats.org/officeDocument/2006/relationships/image" Target="../media/image3.png" /><Relationship Id="rId2" Type="http://schemas.openxmlformats.org/officeDocument/2006/relationships/tags" Target="../tags/tag4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 /><Relationship Id="rId3" Type="http://schemas.openxmlformats.org/officeDocument/2006/relationships/tags" Target="../tags/tag7.xml" /><Relationship Id="rId7" Type="http://schemas.openxmlformats.org/officeDocument/2006/relationships/image" Target="../media/image5.png" /><Relationship Id="rId2" Type="http://schemas.openxmlformats.org/officeDocument/2006/relationships/tags" Target="../tags/tag6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3.bin" /><Relationship Id="rId4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 /><Relationship Id="rId3" Type="http://schemas.openxmlformats.org/officeDocument/2006/relationships/tags" Target="../tags/tag9.xml" /><Relationship Id="rId7" Type="http://schemas.openxmlformats.org/officeDocument/2006/relationships/image" Target="../media/image5.png" /><Relationship Id="rId2" Type="http://schemas.openxmlformats.org/officeDocument/2006/relationships/tags" Target="../tags/tag8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4.bin" /><Relationship Id="rId4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 /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 /><Relationship Id="rId3" Type="http://schemas.openxmlformats.org/officeDocument/2006/relationships/tags" Target="../tags/tag11.xml" /><Relationship Id="rId7" Type="http://schemas.openxmlformats.org/officeDocument/2006/relationships/image" Target="../media/image5.png" /><Relationship Id="rId2" Type="http://schemas.openxmlformats.org/officeDocument/2006/relationships/tags" Target="../tags/tag10.xml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5.bin" /><Relationship Id="rId4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ne 22, 2021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ne 22, 2021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9" Type="http://schemas.openxmlformats.org/officeDocument/2006/relationships/vmlDrawing" Target="../drawings/vmlDrawing1.v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34" Type="http://schemas.openxmlformats.org/officeDocument/2006/relationships/slideLayout" Target="../slideLayouts/slideLayout34.xml" /><Relationship Id="rId42" Type="http://schemas.openxmlformats.org/officeDocument/2006/relationships/oleObject" Target="../embeddings/oleObject1.bin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33" Type="http://schemas.openxmlformats.org/officeDocument/2006/relationships/slideLayout" Target="../slideLayouts/slideLayout33.xml" /><Relationship Id="rId38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29" Type="http://schemas.openxmlformats.org/officeDocument/2006/relationships/slideLayout" Target="../slideLayouts/slideLayout29.xml" /><Relationship Id="rId41" Type="http://schemas.openxmlformats.org/officeDocument/2006/relationships/tags" Target="../tags/tag3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32" Type="http://schemas.openxmlformats.org/officeDocument/2006/relationships/slideLayout" Target="../slideLayouts/slideLayout32.xml" /><Relationship Id="rId37" Type="http://schemas.openxmlformats.org/officeDocument/2006/relationships/slideLayout" Target="../slideLayouts/slideLayout37.xml" /><Relationship Id="rId40" Type="http://schemas.openxmlformats.org/officeDocument/2006/relationships/tags" Target="../tags/tag2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slideLayout" Target="../slideLayouts/slideLayout28.xml" /><Relationship Id="rId36" Type="http://schemas.openxmlformats.org/officeDocument/2006/relationships/slideLayout" Target="../slideLayouts/slideLayout36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slideLayout" Target="../slideLayouts/slideLayout31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slideLayout" Target="../slideLayouts/slideLayout30.xml" /><Relationship Id="rId35" Type="http://schemas.openxmlformats.org/officeDocument/2006/relationships/slideLayout" Target="../slideLayouts/slideLayout35.xml" /><Relationship Id="rId43" Type="http://schemas.openxmlformats.org/officeDocument/2006/relationships/image" Target="../media/image1.emf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 /><Relationship Id="rId2" Type="http://schemas.openxmlformats.org/officeDocument/2006/relationships/image" Target="../media/image7.jpeg" /><Relationship Id="rId1" Type="http://schemas.openxmlformats.org/officeDocument/2006/relationships/slideLayout" Target="../slideLayouts/slideLayout4.xml" /><Relationship Id="rId6" Type="http://schemas.openxmlformats.org/officeDocument/2006/relationships/image" Target="../media/image11.jpeg" /><Relationship Id="rId5" Type="http://schemas.openxmlformats.org/officeDocument/2006/relationships/image" Target="../media/image10.jpeg" /><Relationship Id="rId4" Type="http://schemas.openxmlformats.org/officeDocument/2006/relationships/image" Target="../media/image9.jpeg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hcp-ui.forge.connected.honeywell.com/?state=hci-suncor-forge%2Fdashboard%2FTENANT_571_DASHBOARD_18" TargetMode="External" /><Relationship Id="rId2" Type="http://schemas.openxmlformats.org/officeDocument/2006/relationships/hyperlink" Target="https://hcp-ui.forge.connected.honeywell.com/?state=hci-suncor-forge%2Fdashboard%2FTENANT_571_DASHBOARD_04" TargetMode="External" /><Relationship Id="rId1" Type="http://schemas.openxmlformats.org/officeDocument/2006/relationships/slideLayout" Target="../slideLayouts/slideLayout14.xml" /><Relationship Id="rId5" Type="http://schemas.openxmlformats.org/officeDocument/2006/relationships/image" Target="../media/image20.png" /><Relationship Id="rId4" Type="http://schemas.openxmlformats.org/officeDocument/2006/relationships/image" Target="../media/image19.png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 /><Relationship Id="rId2" Type="http://schemas.openxmlformats.org/officeDocument/2006/relationships/hyperlink" Target="https://hcp-ui.forge.connected.honeywell.com/?type=tabular&amp;state=hci-suncor-forge%2Fpm%2Fdashboard%2FTENANT_571_DASHBOARD_36" TargetMode="External" /><Relationship Id="rId1" Type="http://schemas.openxmlformats.org/officeDocument/2006/relationships/slideLayout" Target="../slideLayouts/slideLayout14.xml" /><Relationship Id="rId4" Type="http://schemas.openxmlformats.org/officeDocument/2006/relationships/image" Target="../media/image22.png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 /><Relationship Id="rId2" Type="http://schemas.openxmlformats.org/officeDocument/2006/relationships/hyperlink" Target="https://spog.suncor.useast.connectedplant.honeywell.com/HCP/?contentId=b13b3894-632a-417d-a132-6aa3e23c4469" TargetMode="External" /><Relationship Id="rId1" Type="http://schemas.openxmlformats.org/officeDocument/2006/relationships/slideLayout" Target="../slideLayouts/slideLayout14.xml" 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 /><Relationship Id="rId1" Type="http://schemas.openxmlformats.org/officeDocument/2006/relationships/slideLayout" Target="../slideLayouts/slideLayout14.xml" 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 /><Relationship Id="rId1" Type="http://schemas.openxmlformats.org/officeDocument/2006/relationships/slideLayout" Target="../slideLayouts/slideLayout14.xml" 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 /><Relationship Id="rId1" Type="http://schemas.openxmlformats.org/officeDocument/2006/relationships/slideLayout" Target="../slideLayouts/slideLayout14.xml" 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 /><Relationship Id="rId1" Type="http://schemas.openxmlformats.org/officeDocument/2006/relationships/slideLayout" Target="../slideLayouts/slideLayout14.xml" 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 /><Relationship Id="rId1" Type="http://schemas.openxmlformats.org/officeDocument/2006/relationships/slideLayout" Target="../slideLayouts/slideLayout14.xml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 /><Relationship Id="rId1" Type="http://schemas.openxmlformats.org/officeDocument/2006/relationships/slideLayout" Target="../slideLayouts/slideLayout14.xml" 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 /><Relationship Id="rId2" Type="http://schemas.openxmlformats.org/officeDocument/2006/relationships/tags" Target="../tags/tag14.xml" /><Relationship Id="rId1" Type="http://schemas.openxmlformats.org/officeDocument/2006/relationships/vmlDrawing" Target="../drawings/vmlDrawing7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7.bin" 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 /><Relationship Id="rId2" Type="http://schemas.openxmlformats.org/officeDocument/2006/relationships/diagramData" Target="../diagrams/data1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1.xml" /><Relationship Id="rId5" Type="http://schemas.openxmlformats.org/officeDocument/2006/relationships/diagramColors" Target="../diagrams/colors1.xml" /><Relationship Id="rId4" Type="http://schemas.openxmlformats.org/officeDocument/2006/relationships/diagramQuickStyle" Target="../diagrams/quickStyle1.xml" 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 /><Relationship Id="rId2" Type="http://schemas.openxmlformats.org/officeDocument/2006/relationships/diagramData" Target="../diagrams/data2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2.xml" /><Relationship Id="rId5" Type="http://schemas.openxmlformats.org/officeDocument/2006/relationships/diagramColors" Target="../diagrams/colors2.xml" /><Relationship Id="rId4" Type="http://schemas.openxmlformats.org/officeDocument/2006/relationships/diagramQuickStyle" Target="../diagrams/quickStyle2.xml" 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 /><Relationship Id="rId2" Type="http://schemas.openxmlformats.org/officeDocument/2006/relationships/diagramData" Target="../diagrams/data3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3.xml" /><Relationship Id="rId5" Type="http://schemas.openxmlformats.org/officeDocument/2006/relationships/diagramColors" Target="../diagrams/colors3.xml" /><Relationship Id="rId4" Type="http://schemas.openxmlformats.org/officeDocument/2006/relationships/diagramQuickStyle" Target="../diagrams/quickStyle3.xml" 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 /><Relationship Id="rId2" Type="http://schemas.openxmlformats.org/officeDocument/2006/relationships/image" Target="../media/image30.png" /><Relationship Id="rId1" Type="http://schemas.openxmlformats.org/officeDocument/2006/relationships/slideLayout" Target="../slideLayouts/slideLayout14.xml" /><Relationship Id="rId6" Type="http://schemas.openxmlformats.org/officeDocument/2006/relationships/image" Target="../media/image34.png" /><Relationship Id="rId5" Type="http://schemas.openxmlformats.org/officeDocument/2006/relationships/image" Target="../media/image33.png" /><Relationship Id="rId4" Type="http://schemas.openxmlformats.org/officeDocument/2006/relationships/image" Target="../media/image32.png" 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 /><Relationship Id="rId2" Type="http://schemas.openxmlformats.org/officeDocument/2006/relationships/image" Target="../media/image35.png" /><Relationship Id="rId1" Type="http://schemas.openxmlformats.org/officeDocument/2006/relationships/slideLayout" Target="../slideLayouts/slideLayout14.xml" /><Relationship Id="rId4" Type="http://schemas.openxmlformats.org/officeDocument/2006/relationships/image" Target="../media/image37.png" 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 /><Relationship Id="rId2" Type="http://schemas.openxmlformats.org/officeDocument/2006/relationships/image" Target="../media/image38.png" /><Relationship Id="rId1" Type="http://schemas.openxmlformats.org/officeDocument/2006/relationships/slideLayout" Target="../slideLayouts/slideLayout14.xml" 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 /><Relationship Id="rId2" Type="http://schemas.openxmlformats.org/officeDocument/2006/relationships/image" Target="../media/image40.png" /><Relationship Id="rId1" Type="http://schemas.openxmlformats.org/officeDocument/2006/relationships/slideLayout" Target="../slideLayouts/slideLayout14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openxmlformats.org/officeDocument/2006/relationships/slideLayout" Target="../slideLayouts/slideLayout14.xml" /><Relationship Id="rId1" Type="http://schemas.openxmlformats.org/officeDocument/2006/relationships/vmlDrawing" Target="../drawings/vmlDrawing8.vml" /><Relationship Id="rId4" Type="http://schemas.openxmlformats.org/officeDocument/2006/relationships/image" Target="../media/image12.emf" 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 /><Relationship Id="rId2" Type="http://schemas.openxmlformats.org/officeDocument/2006/relationships/diagramData" Target="../diagrams/data4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4.xml" /><Relationship Id="rId5" Type="http://schemas.openxmlformats.org/officeDocument/2006/relationships/diagramColors" Target="../diagrams/colors4.xml" /><Relationship Id="rId4" Type="http://schemas.openxmlformats.org/officeDocument/2006/relationships/diagramQuickStyle" Target="../diagrams/quickStyle4.xml" 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 /><Relationship Id="rId2" Type="http://schemas.openxmlformats.org/officeDocument/2006/relationships/diagramData" Target="../diagrams/data5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5.xml" /><Relationship Id="rId5" Type="http://schemas.openxmlformats.org/officeDocument/2006/relationships/diagramColors" Target="../diagrams/colors5.xml" /><Relationship Id="rId4" Type="http://schemas.openxmlformats.org/officeDocument/2006/relationships/diagramQuickStyle" Target="../diagrams/quickStyle5.xml" 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 /><Relationship Id="rId2" Type="http://schemas.openxmlformats.org/officeDocument/2006/relationships/diagramData" Target="../diagrams/data6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6.xml" /><Relationship Id="rId5" Type="http://schemas.openxmlformats.org/officeDocument/2006/relationships/diagramColors" Target="../diagrams/colors6.xml" /><Relationship Id="rId4" Type="http://schemas.openxmlformats.org/officeDocument/2006/relationships/diagramQuickStyle" Target="../diagrams/quickStyle6.xml" 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 /><Relationship Id="rId2" Type="http://schemas.openxmlformats.org/officeDocument/2006/relationships/diagramData" Target="../diagrams/data7.xml" /><Relationship Id="rId1" Type="http://schemas.openxmlformats.org/officeDocument/2006/relationships/slideLayout" Target="../slideLayouts/slideLayout14.xml" /><Relationship Id="rId6" Type="http://schemas.microsoft.com/office/2007/relationships/diagramDrawing" Target="../diagrams/drawing7.xml" /><Relationship Id="rId5" Type="http://schemas.openxmlformats.org/officeDocument/2006/relationships/diagramColors" Target="../diagrams/colors7.xml" /><Relationship Id="rId4" Type="http://schemas.openxmlformats.org/officeDocument/2006/relationships/diagramQuickStyle" Target="../diagrams/quickStyle7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 /><Relationship Id="rId2" Type="http://schemas.openxmlformats.org/officeDocument/2006/relationships/hyperlink" Target="https://hcp-ui.forge.connected.honeywell.com/" TargetMode="External" /><Relationship Id="rId1" Type="http://schemas.openxmlformats.org/officeDocument/2006/relationships/slideLayout" Target="../slideLayouts/slideLayout14.xml" 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 /><Relationship Id="rId1" Type="http://schemas.openxmlformats.org/officeDocument/2006/relationships/slideLayout" Target="../slideLayouts/slideLayout14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 /><Relationship Id="rId2" Type="http://schemas.openxmlformats.org/officeDocument/2006/relationships/hyperlink" Target="https://hcp-ui.forge.connected.honeywell.com/?state=hci-suncor-forge%2Fdashboard%2FTENANT_571_DASHBOARD_09" TargetMode="External" /><Relationship Id="rId1" Type="http://schemas.openxmlformats.org/officeDocument/2006/relationships/slideLayout" Target="../slideLayouts/slideLayout14.xml" 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 /><Relationship Id="rId1" Type="http://schemas.openxmlformats.org/officeDocument/2006/relationships/slideLayout" Target="../slideLayouts/slideLayout14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 /><Relationship Id="rId2" Type="http://schemas.openxmlformats.org/officeDocument/2006/relationships/hyperlink" Target="https://hcp-ui.forge.connected.honeywell.com/?state=hci-suncor-forge%2Fdashboard%2FTENANT_571_DASHBOARD_01" TargetMode="External" /><Relationship Id="rId1" Type="http://schemas.openxmlformats.org/officeDocument/2006/relationships/slideLayout" Target="../slideLayouts/slideLayout14.xml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 /><Relationship Id="rId2" Type="http://schemas.openxmlformats.org/officeDocument/2006/relationships/image" Target="../media/image17.png" /><Relationship Id="rId1" Type="http://schemas.openxmlformats.org/officeDocument/2006/relationships/slideLayout" Target="../slideLayouts/slideLayout14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2FA27E-8CE6-467E-BCD3-6F273BC79CF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184CA56-742D-473B-915D-E848392CC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7">
            <a:extLst>
              <a:ext uri="{FF2B5EF4-FFF2-40B4-BE49-F238E27FC236}">
                <a16:creationId xmlns:a16="http://schemas.microsoft.com/office/drawing/2014/main" id="{433B9463-F87D-40DA-911B-D4605187A4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5CA9A7-1B11-4D5D-BEB1-6BD56DE8ED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CCD1777-48CD-4910-97EE-443CBDB00D4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677108"/>
          </a:xfrm>
        </p:spPr>
        <p:txBody>
          <a:bodyPr/>
          <a:lstStyle/>
          <a:p>
            <a:r>
              <a:rPr lang="en-US" dirty="0"/>
              <a:t>Suncor DASHBOARD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4874170"/>
            <a:ext cx="2819400" cy="923330"/>
          </a:xfrm>
        </p:spPr>
        <p:txBody>
          <a:bodyPr/>
          <a:lstStyle/>
          <a:p>
            <a:r>
              <a:rPr lang="en-US" dirty="0"/>
              <a:t>John GOODMAN</a:t>
            </a:r>
          </a:p>
          <a:p>
            <a:r>
              <a:rPr lang="en-US" dirty="0"/>
              <a:t>Sunil Pachpande</a:t>
            </a:r>
          </a:p>
          <a:p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5A3AA89-9865-418D-BC35-5B8FEBA8C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93DEF-68FA-4D29-987F-2D76EC479882}" type="datetime4">
              <a:rPr lang="en-US" smtClean="0"/>
              <a:pPr/>
              <a:t>June 22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25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3D104-F887-4A18-B57D-CAE0078B1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ypes of different widget present on dashboards - </a:t>
            </a:r>
            <a:r>
              <a:rPr lang="en-US" sz="2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terial Balance</a:t>
            </a:r>
            <a:r>
              <a:rPr lang="en-US" sz="2400" dirty="0">
                <a:solidFill>
                  <a:srgbClr val="0070C0"/>
                </a:solidFill>
              </a:rPr>
              <a:t> &amp; </a:t>
            </a:r>
            <a:r>
              <a:rPr lang="en-US" sz="2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red Heaters</a:t>
            </a:r>
            <a:br>
              <a:rPr lang="en-US" sz="2400" dirty="0">
                <a:solidFill>
                  <a:srgbClr val="0070C0"/>
                </a:solidFill>
              </a:rPr>
            </a:br>
            <a:br>
              <a:rPr lang="en-US" sz="2400" dirty="0"/>
            </a:br>
            <a:r>
              <a:rPr lang="en-US" sz="2400" dirty="0"/>
              <a:t>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3648043-4F93-497A-8319-8D5DA17A60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0" y="2020824"/>
            <a:ext cx="5838824" cy="384657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E1D8C-BBD0-4073-AF0D-8A633157E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567628-8E98-4E40-B965-BF9D76E89C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883D987A-1969-47F2-BD7C-CB508AC15999}"/>
              </a:ext>
            </a:extLst>
          </p:cNvPr>
          <p:cNvSpPr/>
          <p:nvPr/>
        </p:nvSpPr>
        <p:spPr>
          <a:xfrm>
            <a:off x="1371601" y="1242218"/>
            <a:ext cx="4581524" cy="1574134"/>
          </a:xfrm>
          <a:prstGeom prst="wedgeEllipseCallout">
            <a:avLst>
              <a:gd name="adj1" fmla="val -68129"/>
              <a:gd name="adj2" fmla="val 10186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ist of tags to be displayed as grap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n also be viewed individually by unchecking the circ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2FAC3E-278C-47BF-92A1-3A8C42E7A8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9325" y="1570038"/>
            <a:ext cx="6162675" cy="4297362"/>
          </a:xfrm>
          <a:prstGeom prst="rect">
            <a:avLst/>
          </a:prstGeom>
        </p:spPr>
      </p:pic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817FBF16-8213-4777-8963-4F3065DAB834}"/>
              </a:ext>
            </a:extLst>
          </p:cNvPr>
          <p:cNvSpPr/>
          <p:nvPr/>
        </p:nvSpPr>
        <p:spPr>
          <a:xfrm>
            <a:off x="7343775" y="914400"/>
            <a:ext cx="4238625" cy="655637"/>
          </a:xfrm>
          <a:prstGeom prst="wedgeEllipseCallout">
            <a:avLst>
              <a:gd name="adj1" fmla="val -72354"/>
              <a:gd name="adj2" fmla="val 26957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ve to individual section by clicking on the heading</a:t>
            </a:r>
          </a:p>
        </p:txBody>
      </p:sp>
      <p:sp>
        <p:nvSpPr>
          <p:cNvPr id="10" name="Speech Bubble: Oval 9">
            <a:extLst>
              <a:ext uri="{FF2B5EF4-FFF2-40B4-BE49-F238E27FC236}">
                <a16:creationId xmlns:a16="http://schemas.microsoft.com/office/drawing/2014/main" id="{05730D1B-5E20-4376-B1F1-77B04EEFB9CC}"/>
              </a:ext>
            </a:extLst>
          </p:cNvPr>
          <p:cNvSpPr/>
          <p:nvPr/>
        </p:nvSpPr>
        <p:spPr>
          <a:xfrm>
            <a:off x="8401050" y="1823243"/>
            <a:ext cx="3867150" cy="1158081"/>
          </a:xfrm>
          <a:prstGeom prst="wedgeEllipseCallout">
            <a:avLst>
              <a:gd name="adj1" fmla="val 4594"/>
              <a:gd name="adj2" fmla="val 14307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tails of tren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lant &amp; </a:t>
            </a:r>
            <a:r>
              <a:rPr lang="en-US" dirty="0" err="1">
                <a:solidFill>
                  <a:schemeClr val="tx1"/>
                </a:solidFill>
              </a:rPr>
              <a:t>Unisim</a:t>
            </a:r>
            <a:r>
              <a:rPr lang="en-US" dirty="0">
                <a:solidFill>
                  <a:schemeClr val="tx1"/>
                </a:solidFill>
              </a:rPr>
              <a:t> - tag color and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e Stamp</a:t>
            </a:r>
          </a:p>
        </p:txBody>
      </p:sp>
    </p:spTree>
    <p:extLst>
      <p:ext uri="{BB962C8B-B14F-4D97-AF65-F5344CB8AC3E}">
        <p14:creationId xmlns:p14="http://schemas.microsoft.com/office/powerpoint/2010/main" val="960726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EC9ED-4DB4-4901-9F80-193096E7F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ypes of different widget present on dashboards – </a:t>
            </a:r>
            <a:br>
              <a:rPr lang="en-US" sz="2400" dirty="0"/>
            </a:br>
            <a:r>
              <a:rPr lang="en-US" sz="2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ular Reports</a:t>
            </a:r>
            <a:br>
              <a:rPr lang="en-US" sz="2400" dirty="0"/>
            </a:br>
            <a:br>
              <a:rPr lang="en-US" sz="2400" dirty="0"/>
            </a:br>
            <a:endParaRPr lang="en-US" sz="2400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E7163E6-FEB9-4AB2-8393-76EC8AF917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5736" y="2622541"/>
            <a:ext cx="5048251" cy="35337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E5925A-4DE8-45E4-B960-33BDAD950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7388E4-D17B-41BD-A3B3-B01267A551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C98F6614-7B99-4BBC-BB83-E0060A3DA949}"/>
              </a:ext>
            </a:extLst>
          </p:cNvPr>
          <p:cNvSpPr/>
          <p:nvPr/>
        </p:nvSpPr>
        <p:spPr>
          <a:xfrm>
            <a:off x="43258" y="1473210"/>
            <a:ext cx="3333750" cy="1595438"/>
          </a:xfrm>
          <a:prstGeom prst="wedgeEllipseCallout">
            <a:avLst>
              <a:gd name="adj1" fmla="val 7785"/>
              <a:gd name="adj2" fmla="val 13165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ll 4 sections data can be exported in excel from these tabular reports</a:t>
            </a:r>
          </a:p>
        </p:txBody>
      </p:sp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CD0F78D3-17A2-4888-B0AB-9A4BD4729430}"/>
              </a:ext>
            </a:extLst>
          </p:cNvPr>
          <p:cNvSpPr/>
          <p:nvPr/>
        </p:nvSpPr>
        <p:spPr>
          <a:xfrm>
            <a:off x="4105276" y="1473210"/>
            <a:ext cx="2057400" cy="1514475"/>
          </a:xfrm>
          <a:prstGeom prst="wedgeEllipseCallout">
            <a:avLst>
              <a:gd name="adj1" fmla="val -71711"/>
              <a:gd name="adj2" fmla="val 10467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ime range can be selected from this section as discussed in above slid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9387D6-D0D5-476F-8DE9-18DACA6BFD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6924" y="2631281"/>
            <a:ext cx="6238479" cy="3330585"/>
          </a:xfrm>
          <a:prstGeom prst="rect">
            <a:avLst/>
          </a:prstGeom>
        </p:spPr>
      </p:pic>
      <p:sp>
        <p:nvSpPr>
          <p:cNvPr id="11" name="Speech Bubble: Oval 10">
            <a:extLst>
              <a:ext uri="{FF2B5EF4-FFF2-40B4-BE49-F238E27FC236}">
                <a16:creationId xmlns:a16="http://schemas.microsoft.com/office/drawing/2014/main" id="{E2FE100B-0A56-4B48-BD45-C0F91A500754}"/>
              </a:ext>
            </a:extLst>
          </p:cNvPr>
          <p:cNvSpPr/>
          <p:nvPr/>
        </p:nvSpPr>
        <p:spPr>
          <a:xfrm>
            <a:off x="6648450" y="1145665"/>
            <a:ext cx="5324475" cy="1514475"/>
          </a:xfrm>
          <a:prstGeom prst="wedgeEllipseCallout">
            <a:avLst>
              <a:gd name="adj1" fmla="val 23995"/>
              <a:gd name="adj2" fmla="val 118902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or PFD Dashboard select the desired section from the drop down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One must have active connected plant login to access these dashboards</a:t>
            </a:r>
          </a:p>
        </p:txBody>
      </p:sp>
    </p:spTree>
    <p:extLst>
      <p:ext uri="{BB962C8B-B14F-4D97-AF65-F5344CB8AC3E}">
        <p14:creationId xmlns:p14="http://schemas.microsoft.com/office/powerpoint/2010/main" val="1358608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07A43-33C1-4EF2-A59F-5D1975017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connected plant lo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C17F52-8885-46CC-AC68-1A9E853664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162050"/>
            <a:ext cx="11201401" cy="454533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k for connected plant - </a:t>
            </a:r>
            <a:r>
              <a:rPr lang="en-US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nected Plant Login</a:t>
            </a:r>
            <a:endParaRPr lang="en-US" dirty="0">
              <a:solidFill>
                <a:srgbClr val="0070C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BB39FB-AD80-46EC-A882-EA800DBDA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7E0C83-008C-4956-9773-9A6421577F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Remember Connected Plant Username &amp; Passwo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E7997F-737A-4DE6-831E-B107D9711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4076" y="1537920"/>
            <a:ext cx="5686424" cy="4329480"/>
          </a:xfrm>
          <a:prstGeom prst="rect">
            <a:avLst/>
          </a:prstGeom>
        </p:spPr>
      </p:pic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DBC766DA-95A6-4F4A-BD06-281562BD0A6B}"/>
              </a:ext>
            </a:extLst>
          </p:cNvPr>
          <p:cNvSpPr/>
          <p:nvPr/>
        </p:nvSpPr>
        <p:spPr>
          <a:xfrm>
            <a:off x="781050" y="2033219"/>
            <a:ext cx="4867275" cy="681406"/>
          </a:xfrm>
          <a:prstGeom prst="wedgeEllipseCallout">
            <a:avLst>
              <a:gd name="adj1" fmla="val 130830"/>
              <a:gd name="adj2" fmla="val 202284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nter your Connected Plant Credentials</a:t>
            </a:r>
          </a:p>
        </p:txBody>
      </p:sp>
    </p:spTree>
    <p:extLst>
      <p:ext uri="{BB962C8B-B14F-4D97-AF65-F5344CB8AC3E}">
        <p14:creationId xmlns:p14="http://schemas.microsoft.com/office/powerpoint/2010/main" val="34556183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DE05F-FCB5-4965-BFBC-D4487A873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D Dashboards – Pre-flash Scree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F931DDA-D348-4924-B25D-3FFD0E8A272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76122" y="1409700"/>
            <a:ext cx="7639756" cy="429736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EBE74D-0C5E-41CE-9A4C-66DB939F6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A57D3B-A24B-4869-B591-96D9E24E3E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C28B6574-8087-4E43-819C-489EF24C28F8}"/>
              </a:ext>
            </a:extLst>
          </p:cNvPr>
          <p:cNvSpPr/>
          <p:nvPr/>
        </p:nvSpPr>
        <p:spPr>
          <a:xfrm>
            <a:off x="0" y="1047750"/>
            <a:ext cx="2933700" cy="885825"/>
          </a:xfrm>
          <a:prstGeom prst="wedgeEllipseCallout">
            <a:avLst>
              <a:gd name="adj1" fmla="val 103842"/>
              <a:gd name="adj2" fmla="val 137769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gs are represented as different colors</a:t>
            </a:r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7D5C38E4-E110-40D5-8E1B-61E36D0EAE04}"/>
              </a:ext>
            </a:extLst>
          </p:cNvPr>
          <p:cNvSpPr/>
          <p:nvPr/>
        </p:nvSpPr>
        <p:spPr>
          <a:xfrm>
            <a:off x="0" y="2886074"/>
            <a:ext cx="2476500" cy="885825"/>
          </a:xfrm>
          <a:prstGeom prst="wedgeEllipseCallout">
            <a:avLst>
              <a:gd name="adj1" fmla="val 166712"/>
              <a:gd name="adj2" fmla="val 5793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ach value has time stamp details</a:t>
            </a:r>
          </a:p>
        </p:txBody>
      </p:sp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513BCD50-3855-4574-A838-2E84AB6EF357}"/>
              </a:ext>
            </a:extLst>
          </p:cNvPr>
          <p:cNvSpPr/>
          <p:nvPr/>
        </p:nvSpPr>
        <p:spPr>
          <a:xfrm flipH="1">
            <a:off x="0" y="4226683"/>
            <a:ext cx="1938528" cy="1476374"/>
          </a:xfrm>
          <a:prstGeom prst="wedgeEllipseCallout">
            <a:avLst>
              <a:gd name="adj1" fmla="val -68390"/>
              <a:gd name="adj2" fmla="val 2319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ustom Time stamp selection</a:t>
            </a:r>
          </a:p>
        </p:txBody>
      </p:sp>
    </p:spTree>
    <p:extLst>
      <p:ext uri="{BB962C8B-B14F-4D97-AF65-F5344CB8AC3E}">
        <p14:creationId xmlns:p14="http://schemas.microsoft.com/office/powerpoint/2010/main" val="3394671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786D3-7DF3-4E0B-B784-CDB40B4D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ping to Asset.attributes in embedded PH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2DA330-8043-413B-B16A-AEC45A1CE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3</a:t>
            </a:fld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7B97DB8-C1E2-4DB1-B78E-87B5AE6BC2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475" y="1526797"/>
            <a:ext cx="10687050" cy="365559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A91243-C3FE-4870-AC39-547AC67EBC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642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D154A-41B2-4BA5-91BF-D6C60BCFE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greg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51215B-A9B7-4C37-81E4-673CB9783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22A6D-C875-4EFD-BA0C-C348847B55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ggregation is done on last 120 minutes data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2B289AC-7CB1-45DC-8293-AE0B774570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9526" y="2057141"/>
            <a:ext cx="10540898" cy="798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0743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94D0C-884E-4605-AD9E-6A03EEE72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sion to mas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349C1B1-7425-4136-BE2E-7053A108A9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940812"/>
            <a:ext cx="12032974" cy="190231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172D1-02BD-45B2-802F-76EEFA7FA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03E21A-9AF4-4E67-A510-49A2B35DFB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Volume corrected flows are used for mass conversion</a:t>
            </a:r>
          </a:p>
        </p:txBody>
      </p:sp>
    </p:spTree>
    <p:extLst>
      <p:ext uri="{BB962C8B-B14F-4D97-AF65-F5344CB8AC3E}">
        <p14:creationId xmlns:p14="http://schemas.microsoft.com/office/powerpoint/2010/main" val="14351463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FD7C0-D219-43E4-AEF7-5B2F39925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hecks – Slurry calcs, VTB calcs, Summer/Winter calcs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1E384-3084-43A1-92CE-133E86008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36F754-1B85-424D-A982-E2E01F1C65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6E4ACDE2-5E59-4773-9701-B626E8305C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5616" y="1497496"/>
            <a:ext cx="11201401" cy="3737411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97492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D2801-D0A7-4276-B10E-C1F276982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histor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5CCB9-9CED-4945-AF78-0C9904F63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74A5A1-F2CE-4626-A7CA-8953DB13A1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PS tags are historized in </a:t>
            </a:r>
            <a:r>
              <a:rPr lang="en-US" dirty="0" err="1"/>
              <a:t>AMHistorian</a:t>
            </a:r>
            <a:r>
              <a:rPr lang="en-US" dirty="0"/>
              <a:t>(e-PHD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3DD79A7-2A72-492B-A731-78FAF2C7EE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6031" y="1747368"/>
            <a:ext cx="11815968" cy="168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5850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2AE08-D66D-426B-AAC3-74B403B66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G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15AE98-0CF0-430D-A57D-DCB22E37F8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4B3740-721A-46E2-A38A-95B78D559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6D2FE8-29C2-4456-A7D8-8F090710CB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876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4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SIGH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122057"/>
            <a:ext cx="7962900" cy="5595723"/>
          </a:xfrm>
        </p:spPr>
        <p:txBody>
          <a:bodyPr/>
          <a:lstStyle/>
          <a:p>
            <a:pPr marL="0" indent="0"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197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282DFB7-C62B-419C-B17E-303C8F0B576D}"/>
              </a:ext>
            </a:extLst>
          </p:cNvPr>
          <p:cNvSpPr/>
          <p:nvPr/>
        </p:nvSpPr>
        <p:spPr>
          <a:xfrm>
            <a:off x="495300" y="2818701"/>
            <a:ext cx="11123452" cy="23237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SSD Code - Python/Power shell</a:t>
            </a:r>
          </a:p>
        </p:txBody>
      </p:sp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4C317142-300C-4A14-9CF1-AD2D25ADEE4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297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57B17E25-573A-4EAD-A0EB-72DCC3EE3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</p:spPr>
        <p:txBody>
          <a:bodyPr/>
          <a:lstStyle/>
          <a:p>
            <a:r>
              <a:rPr lang="en-US" dirty="0"/>
              <a:t>  Preprocessing calculations SSD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E449239-0E0C-426D-8DCA-8F90B89BC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t>19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901011-D249-4CA3-9D60-2769E73999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5867400"/>
            <a:ext cx="12192000" cy="495299"/>
          </a:xfrm>
        </p:spPr>
        <p:txBody>
          <a:bodyPr/>
          <a:lstStyle/>
          <a:p>
            <a:r>
              <a:rPr lang="en-US" dirty="0"/>
              <a:t>Frequency of SSD code execution is 30 mi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3C8CECB-A10E-45E2-A32A-70EFF10CD42C}"/>
              </a:ext>
            </a:extLst>
          </p:cNvPr>
          <p:cNvSpPr/>
          <p:nvPr/>
        </p:nvSpPr>
        <p:spPr>
          <a:xfrm>
            <a:off x="838900" y="1409700"/>
            <a:ext cx="9538282" cy="101471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e-PHD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4FF4259C-F0BC-402E-923B-12EA5BA87A6C}"/>
              </a:ext>
            </a:extLst>
          </p:cNvPr>
          <p:cNvSpPr/>
          <p:nvPr/>
        </p:nvSpPr>
        <p:spPr>
          <a:xfrm>
            <a:off x="2709644" y="2424418"/>
            <a:ext cx="763398" cy="413218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C1EBBB8B-2AD9-4029-865A-EC34C3FBC5B7}"/>
              </a:ext>
            </a:extLst>
          </p:cNvPr>
          <p:cNvSpPr/>
          <p:nvPr/>
        </p:nvSpPr>
        <p:spPr>
          <a:xfrm rot="10800000">
            <a:off x="8685270" y="2405483"/>
            <a:ext cx="550181" cy="413218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8794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2D14CC-1106-4FF8-8350-0264028BE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0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9E666CE-2184-411F-BD07-0528D3671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</p:spPr>
        <p:txBody>
          <a:bodyPr/>
          <a:lstStyle/>
          <a:p>
            <a:r>
              <a:rPr lang="en-US" dirty="0"/>
              <a:t>  Preprocessing calculations SSD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D07271D-41D8-4D6F-93A7-D02256AF4339}"/>
              </a:ext>
            </a:extLst>
          </p:cNvPr>
          <p:cNvSpPr txBox="1">
            <a:spLocks/>
          </p:cNvSpPr>
          <p:nvPr/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B94EC18-1D2B-4535-B738-0E53AFE26620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1303A03-41F1-45D6-BB13-45CB6ABC4D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5867400"/>
            <a:ext cx="12192000" cy="495299"/>
          </a:xfrm>
        </p:spPr>
        <p:txBody>
          <a:bodyPr/>
          <a:lstStyle/>
          <a:p>
            <a:r>
              <a:rPr lang="en-US" dirty="0"/>
              <a:t>Frequency of SSD code execution is 30 mi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23D0CA4-B236-407A-A72E-BC460521F3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List of identified Tags re-presenting Steady State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Overall SSD Flag=XI_CDUVDU_RECONMB_01.CL_ECPR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Pre-Condition for MR code Execution-Overall SSD Flag &gt;0.8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Frequency of Execution-30 min</a:t>
            </a:r>
          </a:p>
        </p:txBody>
      </p:sp>
    </p:spTree>
    <p:extLst>
      <p:ext uri="{BB962C8B-B14F-4D97-AF65-F5344CB8AC3E}">
        <p14:creationId xmlns:p14="http://schemas.microsoft.com/office/powerpoint/2010/main" val="4289648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FB475F3-6E54-40A1-BD0C-3D211DBBC39E}"/>
              </a:ext>
            </a:extLst>
          </p:cNvPr>
          <p:cNvSpPr/>
          <p:nvPr/>
        </p:nvSpPr>
        <p:spPr>
          <a:xfrm>
            <a:off x="495300" y="2818701"/>
            <a:ext cx="11123452" cy="23237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MR Code - Python/Power shell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F70D62D-DACB-4094-9FDB-BE0C41264CB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297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sz="2800" dirty="0"/>
              <a:t> </a:t>
            </a:r>
            <a:r>
              <a:rPr lang="en-US" dirty="0"/>
              <a:t>Mass</a:t>
            </a:r>
            <a:r>
              <a:rPr lang="en-US" sz="2800" dirty="0"/>
              <a:t> </a:t>
            </a:r>
            <a:r>
              <a:rPr lang="en-US" dirty="0"/>
              <a:t>Reconcil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MR code execution is 30 mi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557E162-6107-4548-AB8F-4D49E1832C3F}"/>
              </a:ext>
            </a:extLst>
          </p:cNvPr>
          <p:cNvSpPr/>
          <p:nvPr/>
        </p:nvSpPr>
        <p:spPr>
          <a:xfrm>
            <a:off x="810988" y="1278530"/>
            <a:ext cx="10637239" cy="101471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e-PHD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EF3EBD1-1193-4D57-82DE-CBFDB305AF61}"/>
              </a:ext>
            </a:extLst>
          </p:cNvPr>
          <p:cNvSpPr/>
          <p:nvPr/>
        </p:nvSpPr>
        <p:spPr>
          <a:xfrm>
            <a:off x="4747166" y="2296293"/>
            <a:ext cx="550181" cy="49530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B96461D-CA2A-48EC-AD68-ADF297543F1A}"/>
              </a:ext>
            </a:extLst>
          </p:cNvPr>
          <p:cNvSpPr/>
          <p:nvPr/>
        </p:nvSpPr>
        <p:spPr>
          <a:xfrm rot="10800000">
            <a:off x="10649574" y="2264669"/>
            <a:ext cx="550181" cy="49530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457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 Preprocessing calculations- M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SSD code execution is 30 mi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23234B2-2908-4B34-A5C3-885B933331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List of identified Input Tags for MR Code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Recon Mass Balance Tag=VR_XI_CDUVDU_01_RCNMBFLAG.PV_RW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Pre-Condition for MR code Execution-Overall SSD Flag &gt;0.8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dirty="0"/>
              <a:t>Frequency of Execution-30 min</a:t>
            </a:r>
          </a:p>
        </p:txBody>
      </p:sp>
    </p:spTree>
    <p:extLst>
      <p:ext uri="{BB962C8B-B14F-4D97-AF65-F5344CB8AC3E}">
        <p14:creationId xmlns:p14="http://schemas.microsoft.com/office/powerpoint/2010/main" val="34936460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FB475F3-6E54-40A1-BD0C-3D211DBBC39E}"/>
              </a:ext>
            </a:extLst>
          </p:cNvPr>
          <p:cNvSpPr/>
          <p:nvPr/>
        </p:nvSpPr>
        <p:spPr>
          <a:xfrm>
            <a:off x="534273" y="2405483"/>
            <a:ext cx="11123452" cy="23237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                                      Orchestration Service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F70D62D-DACB-4094-9FDB-BE0C41264CB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487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4" y="421517"/>
            <a:ext cx="11201401" cy="419100"/>
          </a:xfrm>
        </p:spPr>
        <p:txBody>
          <a:bodyPr/>
          <a:lstStyle/>
          <a:p>
            <a:r>
              <a:rPr lang="en-US" dirty="0"/>
              <a:t> Orchestration step-1 (reading dat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Orchestration Service is 60 mi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557E162-6107-4548-AB8F-4D49E1832C3F}"/>
              </a:ext>
            </a:extLst>
          </p:cNvPr>
          <p:cNvSpPr/>
          <p:nvPr/>
        </p:nvSpPr>
        <p:spPr>
          <a:xfrm>
            <a:off x="838900" y="1409700"/>
            <a:ext cx="9538282" cy="65399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e-PHD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EF3EBD1-1193-4D57-82DE-CBFDB305AF61}"/>
              </a:ext>
            </a:extLst>
          </p:cNvPr>
          <p:cNvSpPr/>
          <p:nvPr/>
        </p:nvSpPr>
        <p:spPr>
          <a:xfrm>
            <a:off x="3709169" y="2063692"/>
            <a:ext cx="388755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B96461D-CA2A-48EC-AD68-ADF297543F1A}"/>
              </a:ext>
            </a:extLst>
          </p:cNvPr>
          <p:cNvSpPr/>
          <p:nvPr/>
        </p:nvSpPr>
        <p:spPr>
          <a:xfrm rot="10800000">
            <a:off x="7976269" y="2051284"/>
            <a:ext cx="388754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A4BB03-D39A-46C7-8D26-8141B1BC88D2}"/>
              </a:ext>
            </a:extLst>
          </p:cNvPr>
          <p:cNvSpPr/>
          <p:nvPr/>
        </p:nvSpPr>
        <p:spPr>
          <a:xfrm>
            <a:off x="1033245" y="4965758"/>
            <a:ext cx="9538282" cy="65399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UniSim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8A718BCE-F9A1-49C2-B175-C93CCA86EC76}"/>
              </a:ext>
            </a:extLst>
          </p:cNvPr>
          <p:cNvSpPr/>
          <p:nvPr/>
        </p:nvSpPr>
        <p:spPr>
          <a:xfrm>
            <a:off x="3709169" y="4081734"/>
            <a:ext cx="388755" cy="884024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307BC938-5976-4E8C-92AC-9FD77156189F}"/>
              </a:ext>
            </a:extLst>
          </p:cNvPr>
          <p:cNvSpPr/>
          <p:nvPr/>
        </p:nvSpPr>
        <p:spPr>
          <a:xfrm>
            <a:off x="6779211" y="4092860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39DFCA20-88C3-47CD-BCA6-3B9145E1D933}"/>
              </a:ext>
            </a:extLst>
          </p:cNvPr>
          <p:cNvSpPr/>
          <p:nvPr/>
        </p:nvSpPr>
        <p:spPr>
          <a:xfrm rot="10800000">
            <a:off x="8170645" y="4081734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1178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E4D6D-C3E5-4705-B60A-8AC919E80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 step-1a (detailed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D4DBC2-5507-4FB1-95C3-513644E80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F817C8-036A-4F2F-8D56-45D8054DCB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5942375"/>
            <a:ext cx="12192000" cy="495299"/>
          </a:xfrm>
        </p:spPr>
        <p:txBody>
          <a:bodyPr/>
          <a:lstStyle/>
          <a:p>
            <a:pPr algn="l"/>
            <a:br>
              <a:rPr lang="en-US" sz="1800" dirty="0"/>
            </a:br>
            <a:r>
              <a:rPr lang="en-US" sz="1800" dirty="0"/>
              <a:t>DATA FLOW SCHEMATIC FROM INPUT CSV FILE TO INDIVIDUAL STREAM OF UNISIM FLOWSHEET</a:t>
            </a:r>
          </a:p>
          <a:p>
            <a:pPr algn="l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99D3F7-A15F-4654-83E3-6A81FBDDE3CA}"/>
              </a:ext>
            </a:extLst>
          </p:cNvPr>
          <p:cNvSpPr/>
          <p:nvPr/>
        </p:nvSpPr>
        <p:spPr>
          <a:xfrm>
            <a:off x="532655" y="2911875"/>
            <a:ext cx="1260629" cy="8611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PUT CSV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A95F65-138E-440B-8B74-550F6CEF45E2}"/>
              </a:ext>
            </a:extLst>
          </p:cNvPr>
          <p:cNvSpPr/>
          <p:nvPr/>
        </p:nvSpPr>
        <p:spPr>
          <a:xfrm>
            <a:off x="2886713" y="2911875"/>
            <a:ext cx="1504736" cy="8611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NISIM DATABOO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AA004E-465D-49D9-B282-BB48C25FE44F}"/>
              </a:ext>
            </a:extLst>
          </p:cNvPr>
          <p:cNvSpPr/>
          <p:nvPr/>
        </p:nvSpPr>
        <p:spPr>
          <a:xfrm>
            <a:off x="5258537" y="2911875"/>
            <a:ext cx="2047783" cy="8611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DT TAB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5E0713-F68A-443A-89AB-589FE70C944D}"/>
              </a:ext>
            </a:extLst>
          </p:cNvPr>
          <p:cNvSpPr/>
          <p:nvPr/>
        </p:nvSpPr>
        <p:spPr>
          <a:xfrm>
            <a:off x="8362764" y="2911875"/>
            <a:ext cx="2047783" cy="8611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EASUREMENT TABLES[FIOW]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F248F353-497C-431F-80DF-CB6F946A5CAB}"/>
              </a:ext>
            </a:extLst>
          </p:cNvPr>
          <p:cNvSpPr/>
          <p:nvPr/>
        </p:nvSpPr>
        <p:spPr>
          <a:xfrm flipV="1">
            <a:off x="1793284" y="3284736"/>
            <a:ext cx="1093429" cy="159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70DB72-7602-47DC-8F35-50D6A4DFAA2F}"/>
              </a:ext>
            </a:extLst>
          </p:cNvPr>
          <p:cNvSpPr/>
          <p:nvPr/>
        </p:nvSpPr>
        <p:spPr>
          <a:xfrm>
            <a:off x="8424905" y="4475828"/>
            <a:ext cx="2058146" cy="8611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DIVIDUAL STREAM IN UNISIM MODEL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6A0ECD1F-C4DE-4793-A322-A326FA0552BB}"/>
              </a:ext>
            </a:extLst>
          </p:cNvPr>
          <p:cNvSpPr/>
          <p:nvPr/>
        </p:nvSpPr>
        <p:spPr>
          <a:xfrm flipV="1">
            <a:off x="4391449" y="3284736"/>
            <a:ext cx="849322" cy="1173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BB31A7E1-B00D-43F0-A900-AF08D05FF32E}"/>
              </a:ext>
            </a:extLst>
          </p:cNvPr>
          <p:cNvSpPr/>
          <p:nvPr/>
        </p:nvSpPr>
        <p:spPr>
          <a:xfrm flipV="1">
            <a:off x="7275991" y="3242251"/>
            <a:ext cx="1093429" cy="159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CA467FCA-FA0D-446C-8CA7-1C5AD969A74D}"/>
              </a:ext>
            </a:extLst>
          </p:cNvPr>
          <p:cNvSpPr/>
          <p:nvPr/>
        </p:nvSpPr>
        <p:spPr>
          <a:xfrm rot="5400000" flipV="1">
            <a:off x="9116997" y="4013854"/>
            <a:ext cx="673962" cy="2322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13C0A7-1BE2-4FB9-A72F-30E45C529E43}"/>
              </a:ext>
            </a:extLst>
          </p:cNvPr>
          <p:cNvSpPr/>
          <p:nvPr/>
        </p:nvSpPr>
        <p:spPr>
          <a:xfrm>
            <a:off x="2621906" y="1966403"/>
            <a:ext cx="8655729" cy="361321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619D9D-1D44-43B5-9B9F-4459927D839E}"/>
              </a:ext>
            </a:extLst>
          </p:cNvPr>
          <p:cNvSpPr txBox="1"/>
          <p:nvPr/>
        </p:nvSpPr>
        <p:spPr>
          <a:xfrm>
            <a:off x="5562994" y="4314543"/>
            <a:ext cx="3327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C00000"/>
                </a:solidFill>
              </a:rPr>
              <a:t>UNISIM MODEL</a:t>
            </a:r>
          </a:p>
        </p:txBody>
      </p:sp>
    </p:spTree>
    <p:extLst>
      <p:ext uri="{BB962C8B-B14F-4D97-AF65-F5344CB8AC3E}">
        <p14:creationId xmlns:p14="http://schemas.microsoft.com/office/powerpoint/2010/main" val="35736078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5C058-4C61-4AF0-A253-A0B0978A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762" y="-53190"/>
            <a:ext cx="11201401" cy="419100"/>
          </a:xfrm>
        </p:spPr>
        <p:txBody>
          <a:bodyPr/>
          <a:lstStyle/>
          <a:p>
            <a:r>
              <a:rPr lang="en-US" sz="2400" dirty="0"/>
              <a:t>Unisim simulation-getting plant data into the mod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0E2E7C-14A3-42E3-A285-1082CD454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2218" y="5902252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t>2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F47231-00AB-4E2B-A1A7-237EAB14D6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6459" y="822068"/>
            <a:ext cx="3100387" cy="22501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81199-0165-46CF-9E06-958FB4206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1637" y="1040035"/>
            <a:ext cx="3787021" cy="9071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6048D0D-B659-4C65-B788-0609D3C476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679" y="3469417"/>
            <a:ext cx="11469949" cy="1605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45B5CB6-D64F-4118-99B4-23AFF09B21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214" y="5771499"/>
            <a:ext cx="11469949" cy="898143"/>
          </a:xfrm>
          <a:prstGeom prst="rect">
            <a:avLst/>
          </a:prstGeom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591052C2-D6D6-49FF-8889-5AA3EAE74084}"/>
              </a:ext>
            </a:extLst>
          </p:cNvPr>
          <p:cNvSpPr/>
          <p:nvPr/>
        </p:nvSpPr>
        <p:spPr>
          <a:xfrm flipV="1">
            <a:off x="3763736" y="1351356"/>
            <a:ext cx="677408" cy="2326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1F7C6ADC-64B3-446E-A57B-D7DF94DA38F7}"/>
              </a:ext>
            </a:extLst>
          </p:cNvPr>
          <p:cNvSpPr/>
          <p:nvPr/>
        </p:nvSpPr>
        <p:spPr>
          <a:xfrm rot="5400000" flipV="1">
            <a:off x="6977058" y="2914887"/>
            <a:ext cx="2022066" cy="865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591A88EF-88BC-4A6A-A6AE-D9521CDD4716}"/>
              </a:ext>
            </a:extLst>
          </p:cNvPr>
          <p:cNvSpPr/>
          <p:nvPr/>
        </p:nvSpPr>
        <p:spPr>
          <a:xfrm rot="5400000">
            <a:off x="10381321" y="5297947"/>
            <a:ext cx="900842" cy="2012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073287-CD49-4ACC-AAB7-7B7F4F9AE0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524" y="535599"/>
            <a:ext cx="3483222" cy="2483375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20819B59-ACC8-4401-AE7F-4CD431D39684}"/>
              </a:ext>
            </a:extLst>
          </p:cNvPr>
          <p:cNvSpPr/>
          <p:nvPr/>
        </p:nvSpPr>
        <p:spPr>
          <a:xfrm flipV="1">
            <a:off x="7353978" y="1481824"/>
            <a:ext cx="677408" cy="2326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C9ECDA-8C38-4093-AAF9-A6D23A148FD8}"/>
              </a:ext>
            </a:extLst>
          </p:cNvPr>
          <p:cNvSpPr txBox="1"/>
          <p:nvPr/>
        </p:nvSpPr>
        <p:spPr>
          <a:xfrm>
            <a:off x="222700" y="207125"/>
            <a:ext cx="354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DATABOO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DA648D-5DBC-4C0C-A4AA-2A8F3BA31209}"/>
              </a:ext>
            </a:extLst>
          </p:cNvPr>
          <p:cNvSpPr txBox="1"/>
          <p:nvPr/>
        </p:nvSpPr>
        <p:spPr>
          <a:xfrm>
            <a:off x="3744746" y="223991"/>
            <a:ext cx="354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LIST PDT TABLES INSIDE DATABOO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832336-7344-473E-BA2B-61AC910B7B45}"/>
              </a:ext>
            </a:extLst>
          </p:cNvPr>
          <p:cNvSpPr txBox="1"/>
          <p:nvPr/>
        </p:nvSpPr>
        <p:spPr>
          <a:xfrm>
            <a:off x="7712946" y="235027"/>
            <a:ext cx="354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 PDT TABLE FOR FLO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A8FF41-4BFE-4BCB-AB84-21365CC2864C}"/>
              </a:ext>
            </a:extLst>
          </p:cNvPr>
          <p:cNvSpPr txBox="1"/>
          <p:nvPr/>
        </p:nvSpPr>
        <p:spPr>
          <a:xfrm>
            <a:off x="7834607" y="3599885"/>
            <a:ext cx="354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INSIDE FLOW PDT TAB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207D77-2808-45AF-8F7B-4B25BDDA05A3}"/>
              </a:ext>
            </a:extLst>
          </p:cNvPr>
          <p:cNvSpPr txBox="1"/>
          <p:nvPr/>
        </p:nvSpPr>
        <p:spPr>
          <a:xfrm>
            <a:off x="7190093" y="5402167"/>
            <a:ext cx="354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FLOW MEASUREMENT T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E04FC4-BE20-45A9-9019-1D91C78D9E10}"/>
              </a:ext>
            </a:extLst>
          </p:cNvPr>
          <p:cNvSpPr txBox="1"/>
          <p:nvPr/>
        </p:nvSpPr>
        <p:spPr>
          <a:xfrm>
            <a:off x="8121637" y="2200162"/>
            <a:ext cx="3499990" cy="98488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FLOW FOR INPUT FLOW TAG NO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-”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I_23014_01.PV_AG”</a:t>
            </a:r>
          </a:p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6705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86C40-E0A3-4000-A02B-790010120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40219"/>
            <a:ext cx="11201401" cy="419100"/>
          </a:xfrm>
        </p:spPr>
        <p:txBody>
          <a:bodyPr/>
          <a:lstStyle/>
          <a:p>
            <a:r>
              <a:rPr lang="en-US" sz="2800" dirty="0"/>
              <a:t>UniSim Simulation – extraction of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B2AA38-6B83-475F-BE42-1F986AE6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6</a:t>
            </a:fld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D5854CF-41B7-4B7B-9990-C8D57169D3C2}"/>
              </a:ext>
            </a:extLst>
          </p:cNvPr>
          <p:cNvSpPr txBox="1">
            <a:spLocks/>
          </p:cNvSpPr>
          <p:nvPr/>
        </p:nvSpPr>
        <p:spPr>
          <a:xfrm>
            <a:off x="847725" y="222124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9564BB1-CE2D-4FB5-84A4-7A3C35AA5C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936958"/>
            <a:ext cx="10382250" cy="128428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8C0B003-DF45-49DA-BC61-88C6E9ED1E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2982928"/>
            <a:ext cx="10391775" cy="1284288"/>
          </a:xfrm>
          <a:prstGeom prst="rect">
            <a:avLst/>
          </a:prstGeom>
        </p:spPr>
      </p:pic>
      <p:sp>
        <p:nvSpPr>
          <p:cNvPr id="22" name="Arrow: Right 21">
            <a:extLst>
              <a:ext uri="{FF2B5EF4-FFF2-40B4-BE49-F238E27FC236}">
                <a16:creationId xmlns:a16="http://schemas.microsoft.com/office/drawing/2014/main" id="{209017AA-2CAA-48AA-A79D-691182B2B406}"/>
              </a:ext>
            </a:extLst>
          </p:cNvPr>
          <p:cNvSpPr/>
          <p:nvPr/>
        </p:nvSpPr>
        <p:spPr>
          <a:xfrm>
            <a:off x="11541125" y="5953140"/>
            <a:ext cx="45719" cy="45719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59C253A-5B8D-4CA6-8F86-142AE7FDCC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5795" y="4783281"/>
            <a:ext cx="4056380" cy="2366222"/>
          </a:xfrm>
          <a:prstGeom prst="rect">
            <a:avLst/>
          </a:prstGeom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F12FECC7-3BF8-4FBA-80B5-8046AD90DCF3}"/>
              </a:ext>
            </a:extLst>
          </p:cNvPr>
          <p:cNvSpPr/>
          <p:nvPr/>
        </p:nvSpPr>
        <p:spPr>
          <a:xfrm>
            <a:off x="6105525" y="2221244"/>
            <a:ext cx="294640" cy="863600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2D6433B8-6150-4419-9AF1-F15149D6C4AE}"/>
              </a:ext>
            </a:extLst>
          </p:cNvPr>
          <p:cNvSpPr/>
          <p:nvPr/>
        </p:nvSpPr>
        <p:spPr>
          <a:xfrm>
            <a:off x="6995795" y="4086823"/>
            <a:ext cx="294640" cy="863600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Arrow: Down 25">
            <a:extLst>
              <a:ext uri="{FF2B5EF4-FFF2-40B4-BE49-F238E27FC236}">
                <a16:creationId xmlns:a16="http://schemas.microsoft.com/office/drawing/2014/main" id="{44969CC1-AC09-4EDE-852E-39BE7007E4BE}"/>
              </a:ext>
            </a:extLst>
          </p:cNvPr>
          <p:cNvSpPr/>
          <p:nvPr/>
        </p:nvSpPr>
        <p:spPr>
          <a:xfrm rot="5400000">
            <a:off x="6416675" y="5521340"/>
            <a:ext cx="294640" cy="863600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204FD2-2B9D-4FD2-B23C-0DC6245A66DD}"/>
              </a:ext>
            </a:extLst>
          </p:cNvPr>
          <p:cNvSpPr txBox="1"/>
          <p:nvPr/>
        </p:nvSpPr>
        <p:spPr>
          <a:xfrm>
            <a:off x="4045585" y="5768474"/>
            <a:ext cx="28613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Calibri" panose="020F0502020204030204"/>
              </a:rPr>
              <a:t>OUTPUT CSV FI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3CFCA6-1EB1-4DDA-9C6B-44BD0B351327}"/>
              </a:ext>
            </a:extLst>
          </p:cNvPr>
          <p:cNvSpPr txBox="1"/>
          <p:nvPr/>
        </p:nvSpPr>
        <p:spPr>
          <a:xfrm>
            <a:off x="7649845" y="4396914"/>
            <a:ext cx="3402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LIST OF PDT TABLE IN DATABOO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5F47834-5650-4839-9D3B-14CA0B8C8112}"/>
              </a:ext>
            </a:extLst>
          </p:cNvPr>
          <p:cNvSpPr txBox="1"/>
          <p:nvPr/>
        </p:nvSpPr>
        <p:spPr>
          <a:xfrm>
            <a:off x="7205980" y="2548747"/>
            <a:ext cx="4246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“OUTPUT_STRM” PDT TABL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4533E-EDCF-4736-9E27-FB1BCC29ED8A}"/>
              </a:ext>
            </a:extLst>
          </p:cNvPr>
          <p:cNvSpPr txBox="1"/>
          <p:nvPr/>
        </p:nvSpPr>
        <p:spPr>
          <a:xfrm>
            <a:off x="7117080" y="559319"/>
            <a:ext cx="4246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OUTPUT MEASUREMENT TAB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40661A-8BB5-4008-85CE-D9F4501EFC9C}"/>
              </a:ext>
            </a:extLst>
          </p:cNvPr>
          <p:cNvSpPr txBox="1"/>
          <p:nvPr/>
        </p:nvSpPr>
        <p:spPr>
          <a:xfrm>
            <a:off x="426085" y="4620434"/>
            <a:ext cx="3619500" cy="923330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ATA FLOW FOR OUTPUT TAG NO-”S23136_01.MASSFLOW_RC” FROM MODEL TO OUTPUT CSV FILE</a:t>
            </a:r>
          </a:p>
        </p:txBody>
      </p:sp>
    </p:spTree>
    <p:extLst>
      <p:ext uri="{BB962C8B-B14F-4D97-AF65-F5344CB8AC3E}">
        <p14:creationId xmlns:p14="http://schemas.microsoft.com/office/powerpoint/2010/main" val="1135580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CF896A-9415-479A-863E-1F6C3D49F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7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3ED8995-9334-4DAB-ACCA-0071E7402A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109" y="34611"/>
            <a:ext cx="10515600" cy="5715324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DATABOOK AND PDT TABLES</a:t>
            </a:r>
            <a:r>
              <a:rPr lang="en-US" sz="2000" dirty="0"/>
              <a:t>- </a:t>
            </a:r>
            <a:r>
              <a:rPr lang="en-US" sz="1800" dirty="0"/>
              <a:t>Contains Multiple </a:t>
            </a:r>
            <a:r>
              <a:rPr lang="en-US" sz="1800" dirty="0" err="1"/>
              <a:t>Pdt</a:t>
            </a:r>
            <a:r>
              <a:rPr lang="en-US" sz="1800" dirty="0"/>
              <a:t> Table For Output And Input Values Of Unisim And The Only Connection Between Unisim And Cloud</a:t>
            </a:r>
            <a:r>
              <a:rPr lang="en-US" sz="2000" dirty="0"/>
              <a:t>. </a:t>
            </a:r>
            <a:endParaRPr lang="en-US" sz="2400" dirty="0"/>
          </a:p>
          <a:p>
            <a:endParaRPr lang="en-US" sz="2400" dirty="0"/>
          </a:p>
          <a:p>
            <a:endParaRPr lang="en-US" sz="2400" b="1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sz="2400" b="1" dirty="0">
              <a:solidFill>
                <a:srgbClr val="C00000"/>
              </a:solidFill>
            </a:endParaRPr>
          </a:p>
          <a:p>
            <a:endParaRPr lang="en-US" sz="2400" b="1" dirty="0">
              <a:solidFill>
                <a:srgbClr val="C00000"/>
              </a:solidFill>
            </a:endParaRPr>
          </a:p>
          <a:p>
            <a:endParaRPr lang="en-US" sz="2000" b="1" dirty="0">
              <a:solidFill>
                <a:srgbClr val="C00000"/>
              </a:solidFill>
            </a:endParaRPr>
          </a:p>
          <a:p>
            <a:endParaRPr lang="en-US" sz="2000" b="1" dirty="0">
              <a:solidFill>
                <a:srgbClr val="C00000"/>
              </a:solidFill>
            </a:endParaRPr>
          </a:p>
          <a:p>
            <a:r>
              <a:rPr lang="en-US" sz="2000" b="1" dirty="0">
                <a:solidFill>
                  <a:srgbClr val="C00000"/>
                </a:solidFill>
              </a:rPr>
              <a:t> INPUT PDT TABLE (FLOW, PRESSURE, TEMPERATURE, LAB, MISCELLANEOUS) </a:t>
            </a:r>
            <a:r>
              <a:rPr lang="en-US" sz="2000" dirty="0"/>
              <a:t>– </a:t>
            </a:r>
            <a:r>
              <a:rPr lang="en-US" sz="1800" dirty="0"/>
              <a:t>Connects The Input CSV File Values To Input Measurement Tables((Flow, Pressure, Temperature, Lab, Miscellaneous)</a:t>
            </a:r>
            <a:r>
              <a:rPr lang="en-US" sz="1600" dirty="0"/>
              <a:t> </a:t>
            </a:r>
            <a:endParaRPr 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2573B6-5428-45F3-954A-2069FA1864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563" y="720588"/>
            <a:ext cx="8551237" cy="23281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F8E1B9-60AF-4002-881D-1D61D4B968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655" y="4056721"/>
            <a:ext cx="10735054" cy="1875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088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33641-0C38-4DB5-8A7E-8975E4276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3" y="6242547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t>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C11339-4217-4E1E-83E5-73C98A7284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6024184"/>
            <a:ext cx="12192000" cy="4952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A2C7DB7-D992-4FC7-A12E-5AE2FA1658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358" y="110839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OUTPUT PDT TABLES </a:t>
            </a:r>
            <a:r>
              <a:rPr lang="en-US" sz="2000" dirty="0"/>
              <a:t>– </a:t>
            </a:r>
            <a:r>
              <a:rPr lang="en-US" sz="1800" dirty="0"/>
              <a:t>Located In Databook And It Connects The Output Measurement Table Values To Output Csv File In Cloud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55FBB8-B991-4789-A19C-465520375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335" y="954858"/>
            <a:ext cx="11066756" cy="18097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48AD577-2A02-4FCE-9F4E-460A45D772F9}"/>
              </a:ext>
            </a:extLst>
          </p:cNvPr>
          <p:cNvSpPr/>
          <p:nvPr/>
        </p:nvSpPr>
        <p:spPr>
          <a:xfrm>
            <a:off x="536358" y="3084824"/>
            <a:ext cx="112709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OUTPUT MEASUREMENT TABLES</a:t>
            </a:r>
            <a:r>
              <a:rPr lang="en-US" b="1" dirty="0"/>
              <a:t>-Takes Input From The Model Values And Connects With The Output </a:t>
            </a:r>
            <a:r>
              <a:rPr lang="en-US" b="1" dirty="0" err="1"/>
              <a:t>Pdt</a:t>
            </a:r>
            <a:r>
              <a:rPr lang="en-US" b="1" dirty="0"/>
              <a:t> Tables In Databook 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46977B-1D60-42D6-9DB8-BE288F0EE9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334" y="3747626"/>
            <a:ext cx="11066755" cy="2069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3535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EC43FD-8976-4F3C-B168-3112F2ED2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048740C-8A18-4969-A152-FDFD695A3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uncor </a:t>
            </a:r>
            <a:r>
              <a:rPr lang="en-US" sz="2400" dirty="0" err="1"/>
              <a:t>AcceSsible</a:t>
            </a:r>
            <a:r>
              <a:rPr lang="en-US" sz="2400" dirty="0"/>
              <a:t> Dashboards Links</a:t>
            </a: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342763C0-F24E-439F-9E73-40B8E56DC7A1}"/>
              </a:ext>
            </a:extLst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0098224"/>
              </p:ext>
            </p:extLst>
          </p:nvPr>
        </p:nvGraphicFramePr>
        <p:xfrm>
          <a:off x="2168525" y="1409700"/>
          <a:ext cx="7854950" cy="495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Worksheet" r:id="rId3" imgW="14128910" imgH="8909094" progId="Excel.Sheet.12">
                  <p:embed/>
                </p:oleObj>
              </mc:Choice>
              <mc:Fallback>
                <p:oleObj name="Worksheet" r:id="rId3" imgW="14128910" imgH="8909094" progId="Excel.Sheet.12">
                  <p:embed/>
                  <p:pic>
                    <p:nvPicPr>
                      <p:cNvPr id="15" name="Content Placeholder 14">
                        <a:extLst>
                          <a:ext uri="{FF2B5EF4-FFF2-40B4-BE49-F238E27FC236}">
                            <a16:creationId xmlns:a16="http://schemas.microsoft.com/office/drawing/2014/main" id="{342763C0-F24E-439F-9E73-40B8E56DC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8525" y="1409700"/>
                        <a:ext cx="7854950" cy="4953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43906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FB475F3-6E54-40A1-BD0C-3D211DBBC39E}"/>
              </a:ext>
            </a:extLst>
          </p:cNvPr>
          <p:cNvSpPr/>
          <p:nvPr/>
        </p:nvSpPr>
        <p:spPr>
          <a:xfrm>
            <a:off x="534273" y="2405483"/>
            <a:ext cx="11123452" cy="23237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                                      Orchestration Service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F70D62D-DACB-4094-9FDB-BE0C41264CB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487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sz="2800" dirty="0"/>
              <a:t> </a:t>
            </a:r>
            <a:r>
              <a:rPr lang="en-US" sz="2800" dirty="0">
                <a:solidFill>
                  <a:prstClr val="black"/>
                </a:solidFill>
              </a:rPr>
              <a:t>Orchestration step-2 (Solve and write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Orchestration Service is 60 mi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557E162-6107-4548-AB8F-4D49E1832C3F}"/>
              </a:ext>
            </a:extLst>
          </p:cNvPr>
          <p:cNvSpPr/>
          <p:nvPr/>
        </p:nvSpPr>
        <p:spPr>
          <a:xfrm>
            <a:off x="838900" y="1409700"/>
            <a:ext cx="9538282" cy="65399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e-PHD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EF3EBD1-1193-4D57-82DE-CBFDB305AF61}"/>
              </a:ext>
            </a:extLst>
          </p:cNvPr>
          <p:cNvSpPr/>
          <p:nvPr/>
        </p:nvSpPr>
        <p:spPr>
          <a:xfrm>
            <a:off x="3709169" y="2063692"/>
            <a:ext cx="388755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B96461D-CA2A-48EC-AD68-ADF297543F1A}"/>
              </a:ext>
            </a:extLst>
          </p:cNvPr>
          <p:cNvSpPr/>
          <p:nvPr/>
        </p:nvSpPr>
        <p:spPr>
          <a:xfrm rot="10800000">
            <a:off x="7976269" y="2051284"/>
            <a:ext cx="388754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A4BB03-D39A-46C7-8D26-8141B1BC88D2}"/>
              </a:ext>
            </a:extLst>
          </p:cNvPr>
          <p:cNvSpPr/>
          <p:nvPr/>
        </p:nvSpPr>
        <p:spPr>
          <a:xfrm>
            <a:off x="1033245" y="4965758"/>
            <a:ext cx="9538282" cy="65399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UniSim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8A718BCE-F9A1-49C2-B175-C93CCA86EC76}"/>
              </a:ext>
            </a:extLst>
          </p:cNvPr>
          <p:cNvSpPr/>
          <p:nvPr/>
        </p:nvSpPr>
        <p:spPr>
          <a:xfrm>
            <a:off x="3709169" y="4081734"/>
            <a:ext cx="388755" cy="884024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307BC938-5976-4E8C-92AC-9FD77156189F}"/>
              </a:ext>
            </a:extLst>
          </p:cNvPr>
          <p:cNvSpPr/>
          <p:nvPr/>
        </p:nvSpPr>
        <p:spPr>
          <a:xfrm>
            <a:off x="6779211" y="4092860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39DFCA20-88C3-47CD-BCA6-3B9145E1D933}"/>
              </a:ext>
            </a:extLst>
          </p:cNvPr>
          <p:cNvSpPr/>
          <p:nvPr/>
        </p:nvSpPr>
        <p:spPr>
          <a:xfrm rot="10800000">
            <a:off x="8170645" y="4081734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135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 ORCHEST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Orchestration Service is 60 mi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23234B2-2908-4B34-A5C3-885B933331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Pre-Conditions for triggering Orchestration</a:t>
            </a:r>
          </a:p>
          <a:p>
            <a:pPr marL="1085850" lvl="3" indent="-342900"/>
            <a:r>
              <a:rPr lang="en-US" dirty="0"/>
              <a:t>A</a:t>
            </a:r>
          </a:p>
          <a:p>
            <a:pPr marL="1085850" lvl="3" indent="-342900"/>
            <a:r>
              <a:rPr lang="en-US" dirty="0"/>
              <a:t>B</a:t>
            </a:r>
          </a:p>
          <a:p>
            <a:pPr marL="1085850" lvl="3" indent="-342900"/>
            <a:r>
              <a:rPr lang="en-US" sz="2400" dirty="0"/>
              <a:t>c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Input CSV &amp; USP Fil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Output CSV &amp; USP Fil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Frequency of Execution-60 min</a:t>
            </a:r>
          </a:p>
        </p:txBody>
      </p:sp>
    </p:spTree>
    <p:extLst>
      <p:ext uri="{BB962C8B-B14F-4D97-AF65-F5344CB8AC3E}">
        <p14:creationId xmlns:p14="http://schemas.microsoft.com/office/powerpoint/2010/main" val="29189211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FB475F3-6E54-40A1-BD0C-3D211DBBC39E}"/>
              </a:ext>
            </a:extLst>
          </p:cNvPr>
          <p:cNvSpPr/>
          <p:nvPr/>
        </p:nvSpPr>
        <p:spPr>
          <a:xfrm>
            <a:off x="534273" y="2405483"/>
            <a:ext cx="11123452" cy="23237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                                      Orchestration Service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F70D62D-DACB-4094-9FDB-BE0C41264CB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487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8099C-F434-4B21-9D6C-1B5BA67E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sz="2800" dirty="0"/>
              <a:t> </a:t>
            </a:r>
            <a:r>
              <a:rPr lang="en-US" sz="2800" dirty="0">
                <a:solidFill>
                  <a:prstClr val="black"/>
                </a:solidFill>
              </a:rPr>
              <a:t>Overall orchestration flow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D4BE8-E267-446B-9DA5-892119346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AB57C-270C-4C82-838A-98AA42D5C7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Orchestration Service is 60 mi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557E162-6107-4548-AB8F-4D49E1832C3F}"/>
              </a:ext>
            </a:extLst>
          </p:cNvPr>
          <p:cNvSpPr/>
          <p:nvPr/>
        </p:nvSpPr>
        <p:spPr>
          <a:xfrm>
            <a:off x="838900" y="1409700"/>
            <a:ext cx="9538282" cy="65399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e-PHD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EF3EBD1-1193-4D57-82DE-CBFDB305AF61}"/>
              </a:ext>
            </a:extLst>
          </p:cNvPr>
          <p:cNvSpPr/>
          <p:nvPr/>
        </p:nvSpPr>
        <p:spPr>
          <a:xfrm>
            <a:off x="3709169" y="2063692"/>
            <a:ext cx="388755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B96461D-CA2A-48EC-AD68-ADF297543F1A}"/>
              </a:ext>
            </a:extLst>
          </p:cNvPr>
          <p:cNvSpPr/>
          <p:nvPr/>
        </p:nvSpPr>
        <p:spPr>
          <a:xfrm rot="10800000">
            <a:off x="7976269" y="2051284"/>
            <a:ext cx="388754" cy="1126810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A4BB03-D39A-46C7-8D26-8141B1BC88D2}"/>
              </a:ext>
            </a:extLst>
          </p:cNvPr>
          <p:cNvSpPr/>
          <p:nvPr/>
        </p:nvSpPr>
        <p:spPr>
          <a:xfrm>
            <a:off x="1033245" y="4965758"/>
            <a:ext cx="9538282" cy="65399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UniSim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8A718BCE-F9A1-49C2-B175-C93CCA86EC76}"/>
              </a:ext>
            </a:extLst>
          </p:cNvPr>
          <p:cNvSpPr/>
          <p:nvPr/>
        </p:nvSpPr>
        <p:spPr>
          <a:xfrm>
            <a:off x="3709169" y="4081734"/>
            <a:ext cx="388755" cy="884024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307BC938-5976-4E8C-92AC-9FD77156189F}"/>
              </a:ext>
            </a:extLst>
          </p:cNvPr>
          <p:cNvSpPr/>
          <p:nvPr/>
        </p:nvSpPr>
        <p:spPr>
          <a:xfrm>
            <a:off x="6779211" y="4092860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39DFCA20-88C3-47CD-BCA6-3B9145E1D933}"/>
              </a:ext>
            </a:extLst>
          </p:cNvPr>
          <p:cNvSpPr/>
          <p:nvPr/>
        </p:nvSpPr>
        <p:spPr>
          <a:xfrm rot="10800000">
            <a:off x="8170645" y="4081734"/>
            <a:ext cx="388755" cy="88402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1366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925D5E33-FC72-4809-940C-3D7C538C57F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5300" y="1409700"/>
          <a:ext cx="11201400" cy="4297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54D960-233A-4E86-988C-F0EB9B10E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ed results written back to TSDB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0143E-7328-4764-B6D7-72D5F641C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6846D-2E13-43C9-9A8B-19AA26D585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260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37884-C307-40C5-A0E9-A8BF47328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on to dashboar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EE828-9B7A-4EC5-B198-FB5F96F42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AD3366-E134-4AAE-A29C-51C41BC669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B1EFEA7B-D1D5-4531-9834-7415E671977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0687561"/>
              </p:ext>
            </p:extLst>
          </p:nvPr>
        </p:nvGraphicFramePr>
        <p:xfrm>
          <a:off x="495299" y="1409700"/>
          <a:ext cx="11201401" cy="4297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9072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EF3E3-1B38-4739-9C2A-CF7F53EF2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655320"/>
          </a:xfrm>
        </p:spPr>
        <p:txBody>
          <a:bodyPr/>
          <a:lstStyle/>
          <a:p>
            <a:r>
              <a:rPr lang="en-US" sz="2400" dirty="0"/>
              <a:t>Below details take you from the initial login, to accessing the dashbo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EBE7A8-842F-41D2-B682-65E9666F4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k to access the dashboard for Login - </a:t>
            </a:r>
            <a:r>
              <a:rPr lang="en-US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shboard link</a:t>
            </a:r>
            <a:endParaRPr lang="en-US" dirty="0">
              <a:solidFill>
                <a:srgbClr val="0070C0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C0ABDC-F1FA-4BA2-A166-421D933DC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053114-CB8A-4FE6-A6C8-38E0BFA415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Remember your Credential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599718-5328-4479-96BA-2EA6147AA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7787" y="1863675"/>
            <a:ext cx="6290788" cy="3774803"/>
          </a:xfrm>
          <a:prstGeom prst="rect">
            <a:avLst/>
          </a:prstGeom>
        </p:spPr>
      </p:pic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EF887A13-4D4D-4B6D-A869-201140078F73}"/>
              </a:ext>
            </a:extLst>
          </p:cNvPr>
          <p:cNvSpPr/>
          <p:nvPr/>
        </p:nvSpPr>
        <p:spPr>
          <a:xfrm>
            <a:off x="1543049" y="2687258"/>
            <a:ext cx="3758087" cy="1063818"/>
          </a:xfrm>
          <a:prstGeom prst="wedgeEllipseCallout">
            <a:avLst>
              <a:gd name="adj1" fmla="val 121562"/>
              <a:gd name="adj2" fmla="val 8899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nter your Credentials</a:t>
            </a:r>
          </a:p>
        </p:txBody>
      </p:sp>
    </p:spTree>
    <p:extLst>
      <p:ext uri="{BB962C8B-B14F-4D97-AF65-F5344CB8AC3E}">
        <p14:creationId xmlns:p14="http://schemas.microsoft.com/office/powerpoint/2010/main" val="2999650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2AAFD9-9290-4BAA-9AEA-4941F67F2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976F96-7FA6-42E7-A6E4-7185C5DED3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0D1869C-CD9D-4F4C-85F1-9B86962369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52460" y="1096543"/>
            <a:ext cx="6981723" cy="458871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08D39E59-8390-42B1-B7EC-5BE27E3B4336}"/>
              </a:ext>
            </a:extLst>
          </p:cNvPr>
          <p:cNvSpPr/>
          <p:nvPr/>
        </p:nvSpPr>
        <p:spPr>
          <a:xfrm>
            <a:off x="9422296" y="3429000"/>
            <a:ext cx="45719" cy="45719"/>
          </a:xfrm>
          <a:prstGeom prst="wedgeEllipseCallout">
            <a:avLst>
              <a:gd name="adj1" fmla="val -12803722"/>
              <a:gd name="adj2" fmla="val 19293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2F86CE79-A930-41D6-B76F-AFA199FB0915}"/>
              </a:ext>
            </a:extLst>
          </p:cNvPr>
          <p:cNvSpPr/>
          <p:nvPr/>
        </p:nvSpPr>
        <p:spPr>
          <a:xfrm>
            <a:off x="9513734" y="1096542"/>
            <a:ext cx="2678266" cy="1379957"/>
          </a:xfrm>
          <a:prstGeom prst="wedgeEllipseCallout">
            <a:avLst>
              <a:gd name="adj1" fmla="val -72490"/>
              <a:gd name="adj2" fmla="val 12316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er Name of the person who has logged in</a:t>
            </a:r>
          </a:p>
        </p:txBody>
      </p:sp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46050229-E565-4F75-AA78-48DA4CEDEEE7}"/>
              </a:ext>
            </a:extLst>
          </p:cNvPr>
          <p:cNvSpPr/>
          <p:nvPr/>
        </p:nvSpPr>
        <p:spPr>
          <a:xfrm flipH="1">
            <a:off x="0" y="1676400"/>
            <a:ext cx="1809750" cy="1295400"/>
          </a:xfrm>
          <a:prstGeom prst="wedgeEllipseCallout">
            <a:avLst>
              <a:gd name="adj1" fmla="val -67980"/>
              <a:gd name="adj2" fmla="val 2576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lect Suncor from the below 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110FDD-144C-478B-9A12-03C0D1884C02}"/>
              </a:ext>
            </a:extLst>
          </p:cNvPr>
          <p:cNvSpPr/>
          <p:nvPr/>
        </p:nvSpPr>
        <p:spPr>
          <a:xfrm>
            <a:off x="7962900" y="1952625"/>
            <a:ext cx="542925" cy="476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35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31AF4-C5B1-43FB-8660-C390BEFDC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76250"/>
            <a:ext cx="11201401" cy="419100"/>
          </a:xfrm>
        </p:spPr>
        <p:txBody>
          <a:bodyPr/>
          <a:lstStyle/>
          <a:p>
            <a:r>
              <a:rPr lang="en-US" sz="2400" dirty="0"/>
              <a:t>Overview of a dashboard screen - </a:t>
            </a:r>
            <a:r>
              <a:rPr lang="en-US" sz="2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nciled Data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F32AB3A-1932-446F-8376-7971A75890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733675" y="1028700"/>
            <a:ext cx="6724650" cy="48387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303A50-189D-47F6-8FF6-F994399C5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5A8EC1-58FE-4D3F-8D94-4A8676AD72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9AC58030-32A5-4E2F-9EBA-6D42D98C5713}"/>
              </a:ext>
            </a:extLst>
          </p:cNvPr>
          <p:cNvSpPr/>
          <p:nvPr/>
        </p:nvSpPr>
        <p:spPr>
          <a:xfrm>
            <a:off x="123824" y="1181100"/>
            <a:ext cx="2695575" cy="1162050"/>
          </a:xfrm>
          <a:prstGeom prst="wedgeEllipseCallout">
            <a:avLst>
              <a:gd name="adj1" fmla="val 63138"/>
              <a:gd name="adj2" fmla="val 3425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ncor can access all the screens present in display bar</a:t>
            </a:r>
          </a:p>
        </p:txBody>
      </p:sp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BAD9A341-5B73-471B-8A02-FB63F3051756}"/>
              </a:ext>
            </a:extLst>
          </p:cNvPr>
          <p:cNvSpPr/>
          <p:nvPr/>
        </p:nvSpPr>
        <p:spPr>
          <a:xfrm>
            <a:off x="190500" y="2514599"/>
            <a:ext cx="2867025" cy="1495426"/>
          </a:xfrm>
          <a:prstGeom prst="wedgeEllipseCallout">
            <a:avLst>
              <a:gd name="adj1" fmla="val 89292"/>
              <a:gd name="adj2" fmla="val -6962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rom the drop- down arrow navigate to individual screens if present</a:t>
            </a:r>
          </a:p>
        </p:txBody>
      </p:sp>
      <p:sp>
        <p:nvSpPr>
          <p:cNvPr id="10" name="Speech Bubble: Oval 9">
            <a:extLst>
              <a:ext uri="{FF2B5EF4-FFF2-40B4-BE49-F238E27FC236}">
                <a16:creationId xmlns:a16="http://schemas.microsoft.com/office/drawing/2014/main" id="{762626EC-A5F4-403B-8CF4-F92110C3BCE0}"/>
              </a:ext>
            </a:extLst>
          </p:cNvPr>
          <p:cNvSpPr/>
          <p:nvPr/>
        </p:nvSpPr>
        <p:spPr>
          <a:xfrm>
            <a:off x="8486774" y="911234"/>
            <a:ext cx="3438526" cy="1431916"/>
          </a:xfrm>
          <a:prstGeom prst="wedgeEllipseCallout">
            <a:avLst>
              <a:gd name="adj1" fmla="val -94418"/>
              <a:gd name="adj2" fmla="val 3986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dividual Screen Heading</a:t>
            </a:r>
          </a:p>
        </p:txBody>
      </p:sp>
    </p:spTree>
    <p:extLst>
      <p:ext uri="{BB962C8B-B14F-4D97-AF65-F5344CB8AC3E}">
        <p14:creationId xmlns:p14="http://schemas.microsoft.com/office/powerpoint/2010/main" val="3084730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31AF4-C5B1-43FB-8660-C390BEFDC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76250"/>
            <a:ext cx="11201401" cy="419100"/>
          </a:xfrm>
        </p:spPr>
        <p:txBody>
          <a:bodyPr/>
          <a:lstStyle/>
          <a:p>
            <a:r>
              <a:rPr lang="en-US" dirty="0"/>
              <a:t>Overview of a dashboard scree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F32AB3A-1932-446F-8376-7971A75890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33675" y="1028700"/>
            <a:ext cx="6724650" cy="48387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303A50-189D-47F6-8FF6-F994399C5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5A8EC1-58FE-4D3F-8D94-4A8676AD72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peech Bubble: Oval 10">
            <a:extLst>
              <a:ext uri="{FF2B5EF4-FFF2-40B4-BE49-F238E27FC236}">
                <a16:creationId xmlns:a16="http://schemas.microsoft.com/office/drawing/2014/main" id="{E7A16570-9641-4709-8F9F-939EF8A62704}"/>
              </a:ext>
            </a:extLst>
          </p:cNvPr>
          <p:cNvSpPr/>
          <p:nvPr/>
        </p:nvSpPr>
        <p:spPr>
          <a:xfrm>
            <a:off x="9934576" y="695326"/>
            <a:ext cx="2257423" cy="2076450"/>
          </a:xfrm>
          <a:prstGeom prst="wedgeEllipseCallout">
            <a:avLst>
              <a:gd name="adj1" fmla="val -74992"/>
              <a:gd name="adj2" fmla="val 2961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or easy navigation: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Quick Links to time stamp are present in the list</a:t>
            </a:r>
          </a:p>
        </p:txBody>
      </p:sp>
      <p:sp>
        <p:nvSpPr>
          <p:cNvPr id="12" name="Speech Bubble: Oval 11">
            <a:extLst>
              <a:ext uri="{FF2B5EF4-FFF2-40B4-BE49-F238E27FC236}">
                <a16:creationId xmlns:a16="http://schemas.microsoft.com/office/drawing/2014/main" id="{8D6681EF-A60D-4A98-8439-AD5F0DE42FF6}"/>
              </a:ext>
            </a:extLst>
          </p:cNvPr>
          <p:cNvSpPr/>
          <p:nvPr/>
        </p:nvSpPr>
        <p:spPr>
          <a:xfrm>
            <a:off x="9553575" y="2857501"/>
            <a:ext cx="2638426" cy="2076450"/>
          </a:xfrm>
          <a:prstGeom prst="wedgeEllipseCallout">
            <a:avLst>
              <a:gd name="adj1" fmla="val -151342"/>
              <a:gd name="adj2" fmla="val -2784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g detai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e sta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ite (Suncor) ta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OP Ta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OM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044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CB901-20F4-4F18-88DA-1780E32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</p:spPr>
        <p:txBody>
          <a:bodyPr/>
          <a:lstStyle/>
          <a:p>
            <a:r>
              <a:rPr lang="en-US" sz="2200" dirty="0"/>
              <a:t>Types of different widget present on dashboards - </a:t>
            </a:r>
            <a:r>
              <a:rPr lang="en-US" sz="22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erview</a:t>
            </a:r>
            <a:br>
              <a:rPr lang="en-US" sz="2200" dirty="0"/>
            </a:br>
            <a:r>
              <a:rPr lang="en-US" sz="2400" dirty="0"/>
              <a:t>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A1F7AD7-8F4E-4ABA-9608-D5CB896CB6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724149" y="1069975"/>
            <a:ext cx="6505575" cy="47180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80EFA9-F89A-4282-9B1B-8F33F9C3C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75C393-EFD9-4FBE-8627-8A8339DDAE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6B5749CC-0AF8-4695-9463-3893A5B715D0}"/>
              </a:ext>
            </a:extLst>
          </p:cNvPr>
          <p:cNvSpPr/>
          <p:nvPr/>
        </p:nvSpPr>
        <p:spPr>
          <a:xfrm flipH="1">
            <a:off x="-209553" y="3429000"/>
            <a:ext cx="4267202" cy="2133600"/>
          </a:xfrm>
          <a:prstGeom prst="wedgeEllipseCallout">
            <a:avLst>
              <a:gd name="adj1" fmla="val -93490"/>
              <a:gd name="adj2" fmla="val -5731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e Sta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Value with a graphical tr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verage high and low value for a particular time period</a:t>
            </a:r>
          </a:p>
        </p:txBody>
      </p:sp>
      <p:sp>
        <p:nvSpPr>
          <p:cNvPr id="10" name="Speech Bubble: Oval 9">
            <a:extLst>
              <a:ext uri="{FF2B5EF4-FFF2-40B4-BE49-F238E27FC236}">
                <a16:creationId xmlns:a16="http://schemas.microsoft.com/office/drawing/2014/main" id="{68750039-0DD2-46DA-B732-A91C20451876}"/>
              </a:ext>
            </a:extLst>
          </p:cNvPr>
          <p:cNvSpPr/>
          <p:nvPr/>
        </p:nvSpPr>
        <p:spPr>
          <a:xfrm>
            <a:off x="9515475" y="2219326"/>
            <a:ext cx="2543175" cy="990600"/>
          </a:xfrm>
          <a:prstGeom prst="wedgeEllipseCallout">
            <a:avLst>
              <a:gd name="adj1" fmla="val -72598"/>
              <a:gd name="adj2" fmla="val 3138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arnings for action panel will display in red.</a:t>
            </a:r>
          </a:p>
        </p:txBody>
      </p:sp>
    </p:spTree>
    <p:extLst>
      <p:ext uri="{BB962C8B-B14F-4D97-AF65-F5344CB8AC3E}">
        <p14:creationId xmlns:p14="http://schemas.microsoft.com/office/powerpoint/2010/main" val="2587003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A043A-7DC0-4213-8881-802ECDA30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0" y="184155"/>
            <a:ext cx="11201401" cy="419100"/>
          </a:xfrm>
        </p:spPr>
        <p:txBody>
          <a:bodyPr/>
          <a:lstStyle/>
          <a:p>
            <a:r>
              <a:rPr lang="en-US" sz="2400" dirty="0"/>
              <a:t>Types of different widget present on dashboard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6D9BF22-B9C5-4262-A80B-C2CF67F2F3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" y="1638300"/>
            <a:ext cx="5143500" cy="42291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EE22B5-6194-45E4-95B9-DAEB3F9C3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BA58A8-C0F4-4F23-8F35-AB42445396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ointer Contains Time </a:t>
            </a:r>
            <a:r>
              <a:rPr lang="en-US" dirty="0" err="1"/>
              <a:t>stamp,Tag</a:t>
            </a:r>
            <a:r>
              <a:rPr lang="en-US" dirty="0"/>
              <a:t> name &amp; UOM</a:t>
            </a:r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66A05B99-D27C-4D18-B912-D0FA0836137E}"/>
              </a:ext>
            </a:extLst>
          </p:cNvPr>
          <p:cNvSpPr/>
          <p:nvPr/>
        </p:nvSpPr>
        <p:spPr>
          <a:xfrm>
            <a:off x="3590924" y="619125"/>
            <a:ext cx="3009902" cy="1876425"/>
          </a:xfrm>
          <a:prstGeom prst="wedgeEllipseCallout">
            <a:avLst>
              <a:gd name="adj1" fmla="val -88717"/>
              <a:gd name="adj2" fmla="val 49119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ick on trends a pop-out window will appear with details of tag (Site/UOP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EAD557-B817-451B-B1EC-A87610E23D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732" y="1938338"/>
            <a:ext cx="5774267" cy="3971925"/>
          </a:xfrm>
          <a:prstGeom prst="rect">
            <a:avLst/>
          </a:prstGeom>
        </p:spPr>
      </p:pic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A5205C99-79CE-4152-8121-E204B3A6C107}"/>
              </a:ext>
            </a:extLst>
          </p:cNvPr>
          <p:cNvSpPr/>
          <p:nvPr/>
        </p:nvSpPr>
        <p:spPr>
          <a:xfrm>
            <a:off x="6767511" y="661987"/>
            <a:ext cx="4762500" cy="1790700"/>
          </a:xfrm>
          <a:prstGeom prst="wedgeEllipseCallout">
            <a:avLst>
              <a:gd name="adj1" fmla="val 38749"/>
              <a:gd name="adj2" fmla="val 13138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ar chart easy identification of light/heavy cru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ox contains all the details including tag name (Site &amp; UOP) ,Time stamp</a:t>
            </a:r>
          </a:p>
        </p:txBody>
      </p:sp>
    </p:spTree>
    <p:extLst>
      <p:ext uri="{BB962C8B-B14F-4D97-AF65-F5344CB8AC3E}">
        <p14:creationId xmlns:p14="http://schemas.microsoft.com/office/powerpoint/2010/main" val="3617586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owerPoint Template16x9_2020 pptx pptx.pptx" id="{95E3C721-112C-49EB-BD8D-284159A51BA4}" vid="{7E1B93AE-827F-42F1-893D-29E06578A994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272A69C97F5F4D83C0CC231A461E80" ma:contentTypeVersion="13" ma:contentTypeDescription="Create a new document." ma:contentTypeScope="" ma:versionID="9815401423affa274197e9cb0de3433e">
  <xsd:schema xmlns:xsd="http://www.w3.org/2001/XMLSchema" xmlns:xs="http://www.w3.org/2001/XMLSchema" xmlns:p="http://schemas.microsoft.com/office/2006/metadata/properties" xmlns:ns3="ca26c764-3bd3-4bd8-89b1-e9f47036d825" xmlns:ns4="bc2d84b1-7cb2-4828-b499-538150ec741d" targetNamespace="http://schemas.microsoft.com/office/2006/metadata/properties" ma:root="true" ma:fieldsID="209d567110efd550defd8613bb4bc3a5" ns3:_="" ns4:_="">
    <xsd:import namespace="ca26c764-3bd3-4bd8-89b1-e9f47036d825"/>
    <xsd:import namespace="bc2d84b1-7cb2-4828-b499-538150ec741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6c764-3bd3-4bd8-89b1-e9f47036d82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2d84b1-7cb2-4828-b499-538150ec74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4451A5-0755-4E55-8CD6-A300D7C97AB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a26c764-3bd3-4bd8-89b1-e9f47036d825"/>
    <ds:schemaRef ds:uri="bc2d84b1-7cb2-4828-b499-538150ec741d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microsoft.com/office/2006/metadata/propertie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 PowerPoint Template16x9_2020</Template>
  <TotalTime>1612</TotalTime>
  <Words>1210</Words>
  <Application>Microsoft Office PowerPoint</Application>
  <PresentationFormat>Widescreen</PresentationFormat>
  <Paragraphs>262</Paragraphs>
  <Slides>3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5" baseType="lpstr">
      <vt:lpstr>Honeywell 2019</vt:lpstr>
      <vt:lpstr>Suncor DASHBOARDS</vt:lpstr>
      <vt:lpstr>INSIGHTS</vt:lpstr>
      <vt:lpstr>Suncor AcceSsible Dashboards Links</vt:lpstr>
      <vt:lpstr>Below details take you from the initial login, to accessing the dashboards</vt:lpstr>
      <vt:lpstr>PowerPoint Presentation</vt:lpstr>
      <vt:lpstr>Overview of a dashboard screen - Reconciled Data </vt:lpstr>
      <vt:lpstr>Overview of a dashboard screen</vt:lpstr>
      <vt:lpstr>Types of different widget present on dashboards - Overview  </vt:lpstr>
      <vt:lpstr>Types of different widget present on dashboards</vt:lpstr>
      <vt:lpstr>Types of different widget present on dashboards - Material Balance &amp; Fired Heaters   </vt:lpstr>
      <vt:lpstr>Types of different widget present on dashboards –  Tabular Reports  </vt:lpstr>
      <vt:lpstr>For connected plant login</vt:lpstr>
      <vt:lpstr>PFD Dashboards – Pre-flash Screen</vt:lpstr>
      <vt:lpstr>Mapping to Asset.attributes in embedded PHD</vt:lpstr>
      <vt:lpstr>Aggregation</vt:lpstr>
      <vt:lpstr>Conversion to mass</vt:lpstr>
      <vt:lpstr>Other checks – Slurry calcs, VTB calcs, Summer/Winter calcs </vt:lpstr>
      <vt:lpstr>Local historization</vt:lpstr>
      <vt:lpstr> GED</vt:lpstr>
      <vt:lpstr>  Preprocessing calculations SSD</vt:lpstr>
      <vt:lpstr>  Preprocessing calculations SSD</vt:lpstr>
      <vt:lpstr>  Mass Reconciliation</vt:lpstr>
      <vt:lpstr>  Preprocessing calculations- MR</vt:lpstr>
      <vt:lpstr> Orchestration step-1 (reading data)</vt:lpstr>
      <vt:lpstr>Orchestration step-1a (detailed)</vt:lpstr>
      <vt:lpstr>Unisim simulation-getting plant data into the model</vt:lpstr>
      <vt:lpstr>UniSim Simulation – extraction of results</vt:lpstr>
      <vt:lpstr>PowerPoint Presentation</vt:lpstr>
      <vt:lpstr>PowerPoint Presentation</vt:lpstr>
      <vt:lpstr>  Orchestration step-2 (Solve and write)</vt:lpstr>
      <vt:lpstr>  ORCHESTRATION</vt:lpstr>
      <vt:lpstr>  Overall orchestration flow</vt:lpstr>
      <vt:lpstr>Selected results written back to TSDB </vt:lpstr>
      <vt:lpstr>Connection to dashboards</vt:lpstr>
    </vt:vector>
  </TitlesOfParts>
  <Company>Honeyw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e Summary  Metal Predictions</dc:title>
  <dc:creator>Goodman, John</dc:creator>
  <cp:lastModifiedBy>sandeep shelar</cp:lastModifiedBy>
  <cp:revision>81</cp:revision>
  <dcterms:created xsi:type="dcterms:W3CDTF">2020-05-04T20:45:31Z</dcterms:created>
  <dcterms:modified xsi:type="dcterms:W3CDTF">2021-06-22T16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272A69C97F5F4D83C0CC231A461E80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06-22T10:19:58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c33e8ddc-ef02-4c55-87e4-84e07599f7e5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</Properties>
</file>